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9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0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2" r:id="rId5"/>
  </p:sldMasterIdLst>
  <p:notesMasterIdLst>
    <p:notesMasterId r:id="rId60"/>
  </p:notesMasterIdLst>
  <p:sldIdLst>
    <p:sldId id="285" r:id="rId6"/>
    <p:sldId id="402" r:id="rId7"/>
    <p:sldId id="379" r:id="rId8"/>
    <p:sldId id="401" r:id="rId9"/>
    <p:sldId id="380" r:id="rId10"/>
    <p:sldId id="394" r:id="rId11"/>
    <p:sldId id="439" r:id="rId12"/>
    <p:sldId id="397" r:id="rId13"/>
    <p:sldId id="395" r:id="rId14"/>
    <p:sldId id="399" r:id="rId15"/>
    <p:sldId id="400" r:id="rId16"/>
    <p:sldId id="389" r:id="rId17"/>
    <p:sldId id="381" r:id="rId18"/>
    <p:sldId id="382" r:id="rId19"/>
    <p:sldId id="275" r:id="rId20"/>
    <p:sldId id="387" r:id="rId21"/>
    <p:sldId id="383" r:id="rId22"/>
    <p:sldId id="386" r:id="rId23"/>
    <p:sldId id="384" r:id="rId24"/>
    <p:sldId id="385" r:id="rId25"/>
    <p:sldId id="388" r:id="rId26"/>
    <p:sldId id="392" r:id="rId27"/>
    <p:sldId id="390" r:id="rId28"/>
    <p:sldId id="391" r:id="rId29"/>
    <p:sldId id="406" r:id="rId30"/>
    <p:sldId id="424" r:id="rId31"/>
    <p:sldId id="437" r:id="rId32"/>
    <p:sldId id="415" r:id="rId33"/>
    <p:sldId id="422" r:id="rId34"/>
    <p:sldId id="412" r:id="rId35"/>
    <p:sldId id="413" r:id="rId36"/>
    <p:sldId id="416" r:id="rId37"/>
    <p:sldId id="417" r:id="rId38"/>
    <p:sldId id="418" r:id="rId39"/>
    <p:sldId id="420" r:id="rId40"/>
    <p:sldId id="423" r:id="rId41"/>
    <p:sldId id="428" r:id="rId42"/>
    <p:sldId id="429" r:id="rId43"/>
    <p:sldId id="430" r:id="rId44"/>
    <p:sldId id="431" r:id="rId45"/>
    <p:sldId id="432" r:id="rId46"/>
    <p:sldId id="433" r:id="rId47"/>
    <p:sldId id="434" r:id="rId48"/>
    <p:sldId id="436" r:id="rId49"/>
    <p:sldId id="425" r:id="rId50"/>
    <p:sldId id="426" r:id="rId51"/>
    <p:sldId id="438" r:id="rId52"/>
    <p:sldId id="435" r:id="rId53"/>
    <p:sldId id="403" r:id="rId54"/>
    <p:sldId id="404" r:id="rId55"/>
    <p:sldId id="409" r:id="rId56"/>
    <p:sldId id="411" r:id="rId57"/>
    <p:sldId id="393" r:id="rId58"/>
    <p:sldId id="375" r:id="rId5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1E1E"/>
    <a:srgbClr val="6D8FBE"/>
    <a:srgbClr val="843A86"/>
    <a:srgbClr val="CDD099"/>
    <a:srgbClr val="84D4F6"/>
    <a:srgbClr val="00CDAF"/>
    <a:srgbClr val="A5A5A5"/>
    <a:srgbClr val="DAE8FC"/>
    <a:srgbClr val="6A7DDC"/>
    <a:srgbClr val="009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205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5" Type="http://schemas.openxmlformats.org/officeDocument/2006/relationships/slideMaster" Target="slideMasters/slideMaster2.xml"/><Relationship Id="rId61" Type="http://schemas.openxmlformats.org/officeDocument/2006/relationships/presProps" Target="presProp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notesMaster" Target="notesMasters/notesMaster1.xml"/><Relationship Id="rId65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der Oscar Lazaro Rodriguez" userId="S::elazaro@belcorp.biz::de686be7-b5fb-44ff-ba7e-2dbd6e742f03" providerId="AD" clId="Web-{2A967F54-0E8A-49AA-ACD7-89597B48250F}"/>
    <pc:docChg chg="modSld">
      <pc:chgData name="Eder Oscar Lazaro Rodriguez" userId="S::elazaro@belcorp.biz::de686be7-b5fb-44ff-ba7e-2dbd6e742f03" providerId="AD" clId="Web-{2A967F54-0E8A-49AA-ACD7-89597B48250F}" dt="2019-06-17T22:49:18.813" v="17" actId="20577"/>
      <pc:docMkLst>
        <pc:docMk/>
      </pc:docMkLst>
      <pc:sldChg chg="modSp">
        <pc:chgData name="Eder Oscar Lazaro Rodriguez" userId="S::elazaro@belcorp.biz::de686be7-b5fb-44ff-ba7e-2dbd6e742f03" providerId="AD" clId="Web-{2A967F54-0E8A-49AA-ACD7-89597B48250F}" dt="2019-06-17T22:49:09.578" v="15" actId="20577"/>
        <pc:sldMkLst>
          <pc:docMk/>
          <pc:sldMk cId="7979611" sldId="285"/>
        </pc:sldMkLst>
        <pc:spChg chg="mod">
          <ac:chgData name="Eder Oscar Lazaro Rodriguez" userId="S::elazaro@belcorp.biz::de686be7-b5fb-44ff-ba7e-2dbd6e742f03" providerId="AD" clId="Web-{2A967F54-0E8A-49AA-ACD7-89597B48250F}" dt="2019-06-17T22:49:09.578" v="15" actId="20577"/>
          <ac:spMkLst>
            <pc:docMk/>
            <pc:sldMk cId="7979611" sldId="285"/>
            <ac:spMk id="8" creationId="{00000000-0000-0000-0000-000000000000}"/>
          </ac:spMkLst>
        </pc:spChg>
      </pc:sldChg>
    </pc:docChg>
  </pc:docChgLst>
  <pc:docChgLst>
    <pc:chgData name="Luis Fernando Diego Pinchi" userId="c27325bb-5454-4f25-baca-5120fe4d48eb" providerId="ADAL" clId="{6CEBC254-8448-4E45-BF6B-DE920BCB2091}"/>
  </pc:docChgLst>
  <pc:docChgLst>
    <pc:chgData name="Omar Rojas" userId="S::omar.rojas_hundred.com.pe#ext#@belcorpbiz.onmicrosoft.com::c3ef5a6a-094a-4eb5-b410-1ef7bc9be540" providerId="AD" clId="Web-{F6B99CDC-1C4C-4B8C-92B1-F27E607DA993}"/>
    <pc:docChg chg="modSld">
      <pc:chgData name="Omar Rojas" userId="S::omar.rojas_hundred.com.pe#ext#@belcorpbiz.onmicrosoft.com::c3ef5a6a-094a-4eb5-b410-1ef7bc9be540" providerId="AD" clId="Web-{F6B99CDC-1C4C-4B8C-92B1-F27E607DA993}" dt="2019-06-17T22:09:06.437" v="9"/>
      <pc:docMkLst>
        <pc:docMk/>
      </pc:docMkLst>
      <pc:sldChg chg="modSp">
        <pc:chgData name="Omar Rojas" userId="S::omar.rojas_hundred.com.pe#ext#@belcorpbiz.onmicrosoft.com::c3ef5a6a-094a-4eb5-b410-1ef7bc9be540" providerId="AD" clId="Web-{F6B99CDC-1C4C-4B8C-92B1-F27E607DA993}" dt="2019-06-17T22:09:06.437" v="9"/>
        <pc:sldMkLst>
          <pc:docMk/>
          <pc:sldMk cId="2202346401" sldId="415"/>
        </pc:sldMkLst>
        <pc:graphicFrameChg chg="mod modGraphic">
          <ac:chgData name="Omar Rojas" userId="S::omar.rojas_hundred.com.pe#ext#@belcorpbiz.onmicrosoft.com::c3ef5a6a-094a-4eb5-b410-1ef7bc9be540" providerId="AD" clId="Web-{F6B99CDC-1C4C-4B8C-92B1-F27E607DA993}" dt="2019-06-17T22:09:06.437" v="9"/>
          <ac:graphicFrameMkLst>
            <pc:docMk/>
            <pc:sldMk cId="2202346401" sldId="415"/>
            <ac:graphicFrameMk id="11" creationId="{87CEF300-7200-49F1-AFAB-5CA57E3F38F2}"/>
          </ac:graphicFrameMkLst>
        </pc:graphicFrameChg>
      </pc:sldChg>
    </pc:docChg>
  </pc:docChgLst>
  <pc:docChgLst>
    <pc:chgData name="Oscar Silva" userId="S::oscar.silva_hundred.com.pe#ext#@belcorpbiz.onmicrosoft.com::6509ea30-3ada-4454-82a9-ec2acf182713" providerId="AD" clId="Web-{BE2C7B16-1E1E-4559-B88A-04C0D963E70E}"/>
    <pc:docChg chg="addSld modSld">
      <pc:chgData name="Oscar Silva" userId="S::oscar.silva_hundred.com.pe#ext#@belcorpbiz.onmicrosoft.com::6509ea30-3ada-4454-82a9-ec2acf182713" providerId="AD" clId="Web-{BE2C7B16-1E1E-4559-B88A-04C0D963E70E}" dt="2019-06-17T16:12:05.888" v="319"/>
      <pc:docMkLst>
        <pc:docMk/>
      </pc:docMkLst>
      <pc:sldChg chg="modSp">
        <pc:chgData name="Oscar Silva" userId="S::oscar.silva_hundred.com.pe#ext#@belcorpbiz.onmicrosoft.com::6509ea30-3ada-4454-82a9-ec2acf182713" providerId="AD" clId="Web-{BE2C7B16-1E1E-4559-B88A-04C0D963E70E}" dt="2019-06-17T16:04:06.231" v="38" actId="20577"/>
        <pc:sldMkLst>
          <pc:docMk/>
          <pc:sldMk cId="4227590305" sldId="404"/>
        </pc:sldMkLst>
        <pc:spChg chg="mod">
          <ac:chgData name="Oscar Silva" userId="S::oscar.silva_hundred.com.pe#ext#@belcorpbiz.onmicrosoft.com::6509ea30-3ada-4454-82a9-ec2acf182713" providerId="AD" clId="Web-{BE2C7B16-1E1E-4559-B88A-04C0D963E70E}" dt="2019-06-17T16:04:06.231" v="38" actId="20577"/>
          <ac:spMkLst>
            <pc:docMk/>
            <pc:sldMk cId="4227590305" sldId="404"/>
            <ac:spMk id="4" creationId="{98DB70BF-04FF-491C-BBF8-576221E97F3E}"/>
          </ac:spMkLst>
        </pc:spChg>
      </pc:sldChg>
      <pc:sldChg chg="addSp delSp modSp new mod setBg">
        <pc:chgData name="Oscar Silva" userId="S::oscar.silva_hundred.com.pe#ext#@belcorpbiz.onmicrosoft.com::6509ea30-3ada-4454-82a9-ec2acf182713" providerId="AD" clId="Web-{BE2C7B16-1E1E-4559-B88A-04C0D963E70E}" dt="2019-06-17T16:08:18.974" v="198" actId="20577"/>
        <pc:sldMkLst>
          <pc:docMk/>
          <pc:sldMk cId="471922964" sldId="405"/>
        </pc:sldMkLst>
        <pc:spChg chg="mod ord">
          <ac:chgData name="Oscar Silva" userId="S::oscar.silva_hundred.com.pe#ext#@belcorpbiz.onmicrosoft.com::6509ea30-3ada-4454-82a9-ec2acf182713" providerId="AD" clId="Web-{BE2C7B16-1E1E-4559-B88A-04C0D963E70E}" dt="2019-06-17T16:05:48.157" v="52" actId="20577"/>
          <ac:spMkLst>
            <pc:docMk/>
            <pc:sldMk cId="471922964" sldId="405"/>
            <ac:spMk id="2" creationId="{679BF575-1099-4196-B6CF-5799971B44E5}"/>
          </ac:spMkLst>
        </pc:spChg>
        <pc:spChg chg="del">
          <ac:chgData name="Oscar Silva" userId="S::oscar.silva_hundred.com.pe#ext#@belcorpbiz.onmicrosoft.com::6509ea30-3ada-4454-82a9-ec2acf182713" providerId="AD" clId="Web-{BE2C7B16-1E1E-4559-B88A-04C0D963E70E}" dt="2019-06-17T16:05:36.297" v="41"/>
          <ac:spMkLst>
            <pc:docMk/>
            <pc:sldMk cId="471922964" sldId="405"/>
            <ac:spMk id="3" creationId="{F4B0ED26-61F2-4033-830B-7F6F51E12D0C}"/>
          </ac:spMkLst>
        </pc:spChg>
        <pc:spChg chg="mod">
          <ac:chgData name="Oscar Silva" userId="S::oscar.silva_hundred.com.pe#ext#@belcorpbiz.onmicrosoft.com::6509ea30-3ada-4454-82a9-ec2acf182713" providerId="AD" clId="Web-{BE2C7B16-1E1E-4559-B88A-04C0D963E70E}" dt="2019-06-17T16:08:18.974" v="198" actId="20577"/>
          <ac:spMkLst>
            <pc:docMk/>
            <pc:sldMk cId="471922964" sldId="405"/>
            <ac:spMk id="4" creationId="{382CC38D-EA80-4A32-9C9F-A6FC1159C031}"/>
          </ac:spMkLst>
        </pc:spChg>
        <pc:spChg chg="add">
          <ac:chgData name="Oscar Silva" userId="S::oscar.silva_hundred.com.pe#ext#@belcorpbiz.onmicrosoft.com::6509ea30-3ada-4454-82a9-ec2acf182713" providerId="AD" clId="Web-{BE2C7B16-1E1E-4559-B88A-04C0D963E70E}" dt="2019-06-17T16:05:42.141" v="42"/>
          <ac:spMkLst>
            <pc:docMk/>
            <pc:sldMk cId="471922964" sldId="405"/>
            <ac:spMk id="12" creationId="{569C1A01-6FB5-43CE-ADCC-936728ACAC0D}"/>
          </ac:spMkLst>
        </pc:spChg>
        <pc:picChg chg="add mod ord">
          <ac:chgData name="Oscar Silva" userId="S::oscar.silva_hundred.com.pe#ext#@belcorpbiz.onmicrosoft.com::6509ea30-3ada-4454-82a9-ec2acf182713" providerId="AD" clId="Web-{BE2C7B16-1E1E-4559-B88A-04C0D963E70E}" dt="2019-06-17T16:05:42.141" v="42"/>
          <ac:picMkLst>
            <pc:docMk/>
            <pc:sldMk cId="471922964" sldId="405"/>
            <ac:picMk id="5" creationId="{F62B80C8-B5AA-4F6E-B5B3-519095289B53}"/>
          </ac:picMkLst>
        </pc:picChg>
        <pc:picChg chg="add">
          <ac:chgData name="Oscar Silva" userId="S::oscar.silva_hundred.com.pe#ext#@belcorpbiz.onmicrosoft.com::6509ea30-3ada-4454-82a9-ec2acf182713" providerId="AD" clId="Web-{BE2C7B16-1E1E-4559-B88A-04C0D963E70E}" dt="2019-06-17T16:05:42.141" v="42"/>
          <ac:picMkLst>
            <pc:docMk/>
            <pc:sldMk cId="471922964" sldId="405"/>
            <ac:picMk id="10" creationId="{EE09A529-E47C-4634-BB98-0A9526C372B4}"/>
          </ac:picMkLst>
        </pc:picChg>
      </pc:sldChg>
      <pc:sldChg chg="addSp delSp modSp new mod setBg">
        <pc:chgData name="Oscar Silva" userId="S::oscar.silva_hundred.com.pe#ext#@belcorpbiz.onmicrosoft.com::6509ea30-3ada-4454-82a9-ec2acf182713" providerId="AD" clId="Web-{BE2C7B16-1E1E-4559-B88A-04C0D963E70E}" dt="2019-06-17T16:12:05.888" v="319"/>
        <pc:sldMkLst>
          <pc:docMk/>
          <pc:sldMk cId="3474179193" sldId="408"/>
        </pc:sldMkLst>
        <pc:spChg chg="mod ord">
          <ac:chgData name="Oscar Silva" userId="S::oscar.silva_hundred.com.pe#ext#@belcorpbiz.onmicrosoft.com::6509ea30-3ada-4454-82a9-ec2acf182713" providerId="AD" clId="Web-{BE2C7B16-1E1E-4559-B88A-04C0D963E70E}" dt="2019-06-17T16:10:29.010" v="219" actId="20577"/>
          <ac:spMkLst>
            <pc:docMk/>
            <pc:sldMk cId="3474179193" sldId="408"/>
            <ac:spMk id="2" creationId="{8E53D8EC-6633-4884-B913-20D4CC01107C}"/>
          </ac:spMkLst>
        </pc:spChg>
        <pc:spChg chg="del">
          <ac:chgData name="Oscar Silva" userId="S::oscar.silva_hundred.com.pe#ext#@belcorpbiz.onmicrosoft.com::6509ea30-3ada-4454-82a9-ec2acf182713" providerId="AD" clId="Web-{BE2C7B16-1E1E-4559-B88A-04C0D963E70E}" dt="2019-06-17T16:08:24.584" v="201"/>
          <ac:spMkLst>
            <pc:docMk/>
            <pc:sldMk cId="3474179193" sldId="408"/>
            <ac:spMk id="3" creationId="{41A6ACF4-F797-4719-B3FD-00C7906A9772}"/>
          </ac:spMkLst>
        </pc:spChg>
        <pc:spChg chg="mod ord">
          <ac:chgData name="Oscar Silva" userId="S::oscar.silva_hundred.com.pe#ext#@belcorpbiz.onmicrosoft.com::6509ea30-3ada-4454-82a9-ec2acf182713" providerId="AD" clId="Web-{BE2C7B16-1E1E-4559-B88A-04C0D963E70E}" dt="2019-06-17T16:11:00.965" v="316" actId="20577"/>
          <ac:spMkLst>
            <pc:docMk/>
            <pc:sldMk cId="3474179193" sldId="408"/>
            <ac:spMk id="4" creationId="{14921AFD-1C31-4400-ACDA-CAE3726B7E5F}"/>
          </ac:spMkLst>
        </pc:spChg>
        <pc:spChg chg="add del mod">
          <ac:chgData name="Oscar Silva" userId="S::oscar.silva_hundred.com.pe#ext#@belcorpbiz.onmicrosoft.com::6509ea30-3ada-4454-82a9-ec2acf182713" providerId="AD" clId="Web-{BE2C7B16-1E1E-4559-B88A-04C0D963E70E}" dt="2019-06-17T16:09:21.179" v="204"/>
          <ac:spMkLst>
            <pc:docMk/>
            <pc:sldMk cId="3474179193" sldId="408"/>
            <ac:spMk id="8" creationId="{E7E977F0-5036-4D11-8903-FC18A1C610E4}"/>
          </ac:spMkLst>
        </pc:spChg>
        <pc:spChg chg="add del mod">
          <ac:chgData name="Oscar Silva" userId="S::oscar.silva_hundred.com.pe#ext#@belcorpbiz.onmicrosoft.com::6509ea30-3ada-4454-82a9-ec2acf182713" providerId="AD" clId="Web-{BE2C7B16-1E1E-4559-B88A-04C0D963E70E}" dt="2019-06-17T16:09:32.242" v="206"/>
          <ac:spMkLst>
            <pc:docMk/>
            <pc:sldMk cId="3474179193" sldId="408"/>
            <ac:spMk id="11" creationId="{38684A79-55CE-4947-82A1-18FD6759199C}"/>
          </ac:spMkLst>
        </pc:spChg>
        <pc:spChg chg="add del">
          <ac:chgData name="Oscar Silva" userId="S::oscar.silva_hundred.com.pe#ext#@belcorpbiz.onmicrosoft.com::6509ea30-3ada-4454-82a9-ec2acf182713" providerId="AD" clId="Web-{BE2C7B16-1E1E-4559-B88A-04C0D963E70E}" dt="2019-06-17T16:09:36.383" v="207"/>
          <ac:spMkLst>
            <pc:docMk/>
            <pc:sldMk cId="3474179193" sldId="408"/>
            <ac:spMk id="12" creationId="{569C1A01-6FB5-43CE-ADCC-936728ACAC0D}"/>
          </ac:spMkLst>
        </pc:spChg>
        <pc:spChg chg="add del mod">
          <ac:chgData name="Oscar Silva" userId="S::oscar.silva_hundred.com.pe#ext#@belcorpbiz.onmicrosoft.com::6509ea30-3ada-4454-82a9-ec2acf182713" providerId="AD" clId="Web-{BE2C7B16-1E1E-4559-B88A-04C0D963E70E}" dt="2019-06-17T16:12:05.888" v="319"/>
          <ac:spMkLst>
            <pc:docMk/>
            <pc:sldMk cId="3474179193" sldId="408"/>
            <ac:spMk id="16" creationId="{9C494842-68D6-48C9-A308-3F4C6B0EBCCA}"/>
          </ac:spMkLst>
        </pc:spChg>
        <pc:picChg chg="add del mod ord">
          <ac:chgData name="Oscar Silva" userId="S::oscar.silva_hundred.com.pe#ext#@belcorpbiz.onmicrosoft.com::6509ea30-3ada-4454-82a9-ec2acf182713" providerId="AD" clId="Web-{BE2C7B16-1E1E-4559-B88A-04C0D963E70E}" dt="2019-06-17T16:09:26.164" v="205"/>
          <ac:picMkLst>
            <pc:docMk/>
            <pc:sldMk cId="3474179193" sldId="408"/>
            <ac:picMk id="5" creationId="{6A020223-916E-4DC4-87A0-7D4BAE4A125C}"/>
          </ac:picMkLst>
        </pc:picChg>
        <pc:picChg chg="add del">
          <ac:chgData name="Oscar Silva" userId="S::oscar.silva_hundred.com.pe#ext#@belcorpbiz.onmicrosoft.com::6509ea30-3ada-4454-82a9-ec2acf182713" providerId="AD" clId="Web-{BE2C7B16-1E1E-4559-B88A-04C0D963E70E}" dt="2019-06-17T16:09:36.383" v="207"/>
          <ac:picMkLst>
            <pc:docMk/>
            <pc:sldMk cId="3474179193" sldId="408"/>
            <ac:picMk id="10" creationId="{EE09A529-E47C-4634-BB98-0A9526C372B4}"/>
          </ac:picMkLst>
        </pc:picChg>
        <pc:picChg chg="add del mod ord">
          <ac:chgData name="Oscar Silva" userId="S::oscar.silva_hundred.com.pe#ext#@belcorpbiz.onmicrosoft.com::6509ea30-3ada-4454-82a9-ec2acf182713" providerId="AD" clId="Web-{BE2C7B16-1E1E-4559-B88A-04C0D963E70E}" dt="2019-06-17T16:11:59.763" v="318"/>
          <ac:picMkLst>
            <pc:docMk/>
            <pc:sldMk cId="3474179193" sldId="408"/>
            <ac:picMk id="13" creationId="{69A86AAF-72D8-443A-B83C-8501883372B7}"/>
          </ac:picMkLst>
        </pc:picChg>
        <pc:picChg chg="add mod ord">
          <ac:chgData name="Oscar Silva" userId="S::oscar.silva_hundred.com.pe#ext#@belcorpbiz.onmicrosoft.com::6509ea30-3ada-4454-82a9-ec2acf182713" providerId="AD" clId="Web-{BE2C7B16-1E1E-4559-B88A-04C0D963E70E}" dt="2019-06-17T16:12:05.888" v="319"/>
          <ac:picMkLst>
            <pc:docMk/>
            <pc:sldMk cId="3474179193" sldId="408"/>
            <ac:picMk id="17" creationId="{744C74E0-949A-4763-8C2B-E6A74B16CE54}"/>
          </ac:picMkLst>
        </pc:picChg>
      </pc:sldChg>
    </pc:docChg>
  </pc:docChgLst>
  <pc:docChgLst>
    <pc:chgData name="Oscar Silva" userId="S::oscar.silva_hundred.com.pe#ext#@belcorpbiz.onmicrosoft.com::6509ea30-3ada-4454-82a9-ec2acf182713" providerId="AD" clId="Web-{FAB3A54E-686D-7343-49BA-5CDB861DF607}"/>
    <pc:docChg chg="modSld">
      <pc:chgData name="Oscar Silva" userId="S::oscar.silva_hundred.com.pe#ext#@belcorpbiz.onmicrosoft.com::6509ea30-3ada-4454-82a9-ec2acf182713" providerId="AD" clId="Web-{FAB3A54E-686D-7343-49BA-5CDB861DF607}" dt="2019-06-17T21:58:26.783" v="105" actId="1076"/>
      <pc:docMkLst>
        <pc:docMk/>
      </pc:docMkLst>
      <pc:sldChg chg="addSp modSp">
        <pc:chgData name="Oscar Silva" userId="S::oscar.silva_hundred.com.pe#ext#@belcorpbiz.onmicrosoft.com::6509ea30-3ada-4454-82a9-ec2acf182713" providerId="AD" clId="Web-{FAB3A54E-686D-7343-49BA-5CDB861DF607}" dt="2019-06-17T21:47:29.819" v="82" actId="1076"/>
        <pc:sldMkLst>
          <pc:docMk/>
          <pc:sldMk cId="4227590305" sldId="404"/>
        </pc:sldMkLst>
        <pc:spChg chg="mod">
          <ac:chgData name="Oscar Silva" userId="S::oscar.silva_hundred.com.pe#ext#@belcorpbiz.onmicrosoft.com::6509ea30-3ada-4454-82a9-ec2acf182713" providerId="AD" clId="Web-{FAB3A54E-686D-7343-49BA-5CDB861DF607}" dt="2019-06-17T21:47:29.819" v="82" actId="1076"/>
          <ac:spMkLst>
            <pc:docMk/>
            <pc:sldMk cId="4227590305" sldId="404"/>
            <ac:spMk id="2" creationId="{C2DF2AFA-C34C-4A8B-A775-9E1050F5D493}"/>
          </ac:spMkLst>
        </pc:spChg>
        <pc:cxnChg chg="add mod">
          <ac:chgData name="Oscar Silva" userId="S::oscar.silva_hundred.com.pe#ext#@belcorpbiz.onmicrosoft.com::6509ea30-3ada-4454-82a9-ec2acf182713" providerId="AD" clId="Web-{FAB3A54E-686D-7343-49BA-5CDB861DF607}" dt="2019-06-17T21:47:17.959" v="80"/>
          <ac:cxnSpMkLst>
            <pc:docMk/>
            <pc:sldMk cId="4227590305" sldId="404"/>
            <ac:cxnSpMk id="3" creationId="{44FE9FC2-656A-48FF-8426-74A1161DFC49}"/>
          </ac:cxnSpMkLst>
        </pc:cxnChg>
      </pc:sldChg>
      <pc:sldChg chg="addSp modSp">
        <pc:chgData name="Oscar Silva" userId="S::oscar.silva_hundred.com.pe#ext#@belcorpbiz.onmicrosoft.com::6509ea30-3ada-4454-82a9-ec2acf182713" providerId="AD" clId="Web-{FAB3A54E-686D-7343-49BA-5CDB861DF607}" dt="2019-06-17T21:47:36.944" v="84" actId="1076"/>
        <pc:sldMkLst>
          <pc:docMk/>
          <pc:sldMk cId="3984080809" sldId="409"/>
        </pc:sldMkLst>
        <pc:spChg chg="mod">
          <ac:chgData name="Oscar Silva" userId="S::oscar.silva_hundred.com.pe#ext#@belcorpbiz.onmicrosoft.com::6509ea30-3ada-4454-82a9-ec2acf182713" providerId="AD" clId="Web-{FAB3A54E-686D-7343-49BA-5CDB861DF607}" dt="2019-06-17T21:47:36.944" v="84" actId="1076"/>
          <ac:spMkLst>
            <pc:docMk/>
            <pc:sldMk cId="3984080809" sldId="409"/>
            <ac:spMk id="2" creationId="{C2DF2AFA-C34C-4A8B-A775-9E1050F5D493}"/>
          </ac:spMkLst>
        </pc:spChg>
        <pc:cxnChg chg="add">
          <ac:chgData name="Oscar Silva" userId="S::oscar.silva_hundred.com.pe#ext#@belcorpbiz.onmicrosoft.com::6509ea30-3ada-4454-82a9-ec2acf182713" providerId="AD" clId="Web-{FAB3A54E-686D-7343-49BA-5CDB861DF607}" dt="2019-06-17T21:47:04.053" v="77"/>
          <ac:cxnSpMkLst>
            <pc:docMk/>
            <pc:sldMk cId="3984080809" sldId="409"/>
            <ac:cxnSpMk id="3" creationId="{E7A2FD89-2863-4126-A8BC-86BAB26B65EF}"/>
          </ac:cxnSpMkLst>
        </pc:cxnChg>
      </pc:sldChg>
      <pc:sldChg chg="addSp modSp">
        <pc:chgData name="Oscar Silva" userId="S::oscar.silva_hundred.com.pe#ext#@belcorpbiz.onmicrosoft.com::6509ea30-3ada-4454-82a9-ec2acf182713" providerId="AD" clId="Web-{FAB3A54E-686D-7343-49BA-5CDB861DF607}" dt="2019-06-17T21:47:49.507" v="86" actId="1076"/>
        <pc:sldMkLst>
          <pc:docMk/>
          <pc:sldMk cId="642397142" sldId="411"/>
        </pc:sldMkLst>
        <pc:spChg chg="mod">
          <ac:chgData name="Oscar Silva" userId="S::oscar.silva_hundred.com.pe#ext#@belcorpbiz.onmicrosoft.com::6509ea30-3ada-4454-82a9-ec2acf182713" providerId="AD" clId="Web-{FAB3A54E-686D-7343-49BA-5CDB861DF607}" dt="2019-06-17T21:47:49.507" v="86" actId="1076"/>
          <ac:spMkLst>
            <pc:docMk/>
            <pc:sldMk cId="642397142" sldId="411"/>
            <ac:spMk id="2" creationId="{C2DF2AFA-C34C-4A8B-A775-9E1050F5D493}"/>
          </ac:spMkLst>
        </pc:spChg>
        <pc:cxnChg chg="add">
          <ac:chgData name="Oscar Silva" userId="S::oscar.silva_hundred.com.pe#ext#@belcorpbiz.onmicrosoft.com::6509ea30-3ada-4454-82a9-ec2acf182713" providerId="AD" clId="Web-{FAB3A54E-686D-7343-49BA-5CDB861DF607}" dt="2019-06-17T21:47:05.678" v="78"/>
          <ac:cxnSpMkLst>
            <pc:docMk/>
            <pc:sldMk cId="642397142" sldId="411"/>
            <ac:cxnSpMk id="5" creationId="{99E53194-63B7-40B2-A1DF-5557FB6967BF}"/>
          </ac:cxnSpMkLst>
        </pc:cxnChg>
      </pc:sldChg>
      <pc:sldChg chg="addSp delSp modSp">
        <pc:chgData name="Oscar Silva" userId="S::oscar.silva_hundred.com.pe#ext#@belcorpbiz.onmicrosoft.com::6509ea30-3ada-4454-82a9-ec2acf182713" providerId="AD" clId="Web-{FAB3A54E-686D-7343-49BA-5CDB861DF607}" dt="2019-06-17T21:44:44.332" v="75"/>
        <pc:sldMkLst>
          <pc:docMk/>
          <pc:sldMk cId="509629342" sldId="416"/>
        </pc:sldMkLst>
        <pc:picChg chg="add del mod">
          <ac:chgData name="Oscar Silva" userId="S::oscar.silva_hundred.com.pe#ext#@belcorpbiz.onmicrosoft.com::6509ea30-3ada-4454-82a9-ec2acf182713" providerId="AD" clId="Web-{FAB3A54E-686D-7343-49BA-5CDB861DF607}" dt="2019-06-17T21:44:43.910" v="74"/>
          <ac:picMkLst>
            <pc:docMk/>
            <pc:sldMk cId="509629342" sldId="416"/>
            <ac:picMk id="4" creationId="{145CAFE1-52ED-4C03-8BDF-C0553BB32DD9}"/>
          </ac:picMkLst>
        </pc:picChg>
        <pc:picChg chg="add">
          <ac:chgData name="Oscar Silva" userId="S::oscar.silva_hundred.com.pe#ext#@belcorpbiz.onmicrosoft.com::6509ea30-3ada-4454-82a9-ec2acf182713" providerId="AD" clId="Web-{FAB3A54E-686D-7343-49BA-5CDB861DF607}" dt="2019-06-17T21:44:44.332" v="75"/>
          <ac:picMkLst>
            <pc:docMk/>
            <pc:sldMk cId="509629342" sldId="416"/>
            <ac:picMk id="7" creationId="{BCB4E841-5699-40E6-ACE0-1601E1EB560D}"/>
          </ac:picMkLst>
        </pc:picChg>
      </pc:sldChg>
      <pc:sldChg chg="addSp delSp">
        <pc:chgData name="Oscar Silva" userId="S::oscar.silva_hundred.com.pe#ext#@belcorpbiz.onmicrosoft.com::6509ea30-3ada-4454-82a9-ec2acf182713" providerId="AD" clId="Web-{FAB3A54E-686D-7343-49BA-5CDB861DF607}" dt="2019-06-17T21:44:39.629" v="73"/>
        <pc:sldMkLst>
          <pc:docMk/>
          <pc:sldMk cId="1890767864" sldId="417"/>
        </pc:sldMkLst>
        <pc:picChg chg="add del">
          <ac:chgData name="Oscar Silva" userId="S::oscar.silva_hundred.com.pe#ext#@belcorpbiz.onmicrosoft.com::6509ea30-3ada-4454-82a9-ec2acf182713" providerId="AD" clId="Web-{FAB3A54E-686D-7343-49BA-5CDB861DF607}" dt="2019-06-17T21:44:38.613" v="72"/>
          <ac:picMkLst>
            <pc:docMk/>
            <pc:sldMk cId="1890767864" sldId="417"/>
            <ac:picMk id="5" creationId="{01DD0796-CBA9-4CFF-BE29-6248C73F68B7}"/>
          </ac:picMkLst>
        </pc:picChg>
        <pc:picChg chg="add">
          <ac:chgData name="Oscar Silva" userId="S::oscar.silva_hundred.com.pe#ext#@belcorpbiz.onmicrosoft.com::6509ea30-3ada-4454-82a9-ec2acf182713" providerId="AD" clId="Web-{FAB3A54E-686D-7343-49BA-5CDB861DF607}" dt="2019-06-17T21:44:39.629" v="73"/>
          <ac:picMkLst>
            <pc:docMk/>
            <pc:sldMk cId="1890767864" sldId="417"/>
            <ac:picMk id="7" creationId="{B442D603-B3FB-4D75-9DF0-9591885285DF}"/>
          </ac:picMkLst>
        </pc:picChg>
      </pc:sldChg>
      <pc:sldChg chg="addSp delSp">
        <pc:chgData name="Oscar Silva" userId="S::oscar.silva_hundred.com.pe#ext#@belcorpbiz.onmicrosoft.com::6509ea30-3ada-4454-82a9-ec2acf182713" providerId="AD" clId="Web-{FAB3A54E-686D-7343-49BA-5CDB861DF607}" dt="2019-06-17T21:44:33.425" v="71"/>
        <pc:sldMkLst>
          <pc:docMk/>
          <pc:sldMk cId="2135361212" sldId="418"/>
        </pc:sldMkLst>
        <pc:picChg chg="add del">
          <ac:chgData name="Oscar Silva" userId="S::oscar.silva_hundred.com.pe#ext#@belcorpbiz.onmicrosoft.com::6509ea30-3ada-4454-82a9-ec2acf182713" providerId="AD" clId="Web-{FAB3A54E-686D-7343-49BA-5CDB861DF607}" dt="2019-06-17T21:44:32.035" v="70"/>
          <ac:picMkLst>
            <pc:docMk/>
            <pc:sldMk cId="2135361212" sldId="418"/>
            <ac:picMk id="5" creationId="{C9DC67B1-9F58-4297-B609-7E7B189B05D1}"/>
          </ac:picMkLst>
        </pc:picChg>
        <pc:picChg chg="add">
          <ac:chgData name="Oscar Silva" userId="S::oscar.silva_hundred.com.pe#ext#@belcorpbiz.onmicrosoft.com::6509ea30-3ada-4454-82a9-ec2acf182713" providerId="AD" clId="Web-{FAB3A54E-686D-7343-49BA-5CDB861DF607}" dt="2019-06-17T21:44:33.425" v="71"/>
          <ac:picMkLst>
            <pc:docMk/>
            <pc:sldMk cId="2135361212" sldId="418"/>
            <ac:picMk id="6" creationId="{611AA070-6C62-41BE-8853-01C39018389C}"/>
          </ac:picMkLst>
        </pc:picChg>
      </pc:sldChg>
      <pc:sldChg chg="addSp delSp modSp">
        <pc:chgData name="Oscar Silva" userId="S::oscar.silva_hundred.com.pe#ext#@belcorpbiz.onmicrosoft.com::6509ea30-3ada-4454-82a9-ec2acf182713" providerId="AD" clId="Web-{FAB3A54E-686D-7343-49BA-5CDB861DF607}" dt="2019-06-17T21:44:18.269" v="67" actId="1076"/>
        <pc:sldMkLst>
          <pc:docMk/>
          <pc:sldMk cId="1999803423" sldId="420"/>
        </pc:sldMkLst>
        <pc:picChg chg="add del">
          <ac:chgData name="Oscar Silva" userId="S::oscar.silva_hundred.com.pe#ext#@belcorpbiz.onmicrosoft.com::6509ea30-3ada-4454-82a9-ec2acf182713" providerId="AD" clId="Web-{FAB3A54E-686D-7343-49BA-5CDB861DF607}" dt="2019-06-17T21:44:11.300" v="65"/>
          <ac:picMkLst>
            <pc:docMk/>
            <pc:sldMk cId="1999803423" sldId="420"/>
            <ac:picMk id="3" creationId="{3F667522-EF6E-4CA4-B5D8-B242CB5707B6}"/>
          </ac:picMkLst>
        </pc:picChg>
        <pc:picChg chg="add mod">
          <ac:chgData name="Oscar Silva" userId="S::oscar.silva_hundred.com.pe#ext#@belcorpbiz.onmicrosoft.com::6509ea30-3ada-4454-82a9-ec2acf182713" providerId="AD" clId="Web-{FAB3A54E-686D-7343-49BA-5CDB861DF607}" dt="2019-06-17T21:44:18.269" v="67" actId="1076"/>
          <ac:picMkLst>
            <pc:docMk/>
            <pc:sldMk cId="1999803423" sldId="420"/>
            <ac:picMk id="4" creationId="{895E868B-FD19-48C7-B7ED-E04D6248C385}"/>
          </ac:picMkLst>
        </pc:picChg>
      </pc:sldChg>
      <pc:sldChg chg="addSp delSp modSp">
        <pc:chgData name="Oscar Silva" userId="S::oscar.silva_hundred.com.pe#ext#@belcorpbiz.onmicrosoft.com::6509ea30-3ada-4454-82a9-ec2acf182713" providerId="AD" clId="Web-{FAB3A54E-686D-7343-49BA-5CDB861DF607}" dt="2019-06-17T21:44:28.519" v="69"/>
        <pc:sldMkLst>
          <pc:docMk/>
          <pc:sldMk cId="2150860712" sldId="423"/>
        </pc:sldMkLst>
        <pc:picChg chg="add del mod">
          <ac:chgData name="Oscar Silva" userId="S::oscar.silva_hundred.com.pe#ext#@belcorpbiz.onmicrosoft.com::6509ea30-3ada-4454-82a9-ec2acf182713" providerId="AD" clId="Web-{FAB3A54E-686D-7343-49BA-5CDB861DF607}" dt="2019-06-17T21:44:23.300" v="68"/>
          <ac:picMkLst>
            <pc:docMk/>
            <pc:sldMk cId="2150860712" sldId="423"/>
            <ac:picMk id="4" creationId="{9D27B568-7678-44E1-8E8E-64D4B7A7D8EB}"/>
          </ac:picMkLst>
        </pc:picChg>
        <pc:picChg chg="add">
          <ac:chgData name="Oscar Silva" userId="S::oscar.silva_hundred.com.pe#ext#@belcorpbiz.onmicrosoft.com::6509ea30-3ada-4454-82a9-ec2acf182713" providerId="AD" clId="Web-{FAB3A54E-686D-7343-49BA-5CDB861DF607}" dt="2019-06-17T21:44:28.519" v="69"/>
          <ac:picMkLst>
            <pc:docMk/>
            <pc:sldMk cId="2150860712" sldId="423"/>
            <ac:picMk id="5" creationId="{93A9AC52-03D0-426B-A234-B787D65B5FFC}"/>
          </ac:picMkLst>
        </pc:picChg>
      </pc:sldChg>
      <pc:sldChg chg="addSp modSp">
        <pc:chgData name="Oscar Silva" userId="S::oscar.silva_hundred.com.pe#ext#@belcorpbiz.onmicrosoft.com::6509ea30-3ada-4454-82a9-ec2acf182713" providerId="AD" clId="Web-{FAB3A54E-686D-7343-49BA-5CDB861DF607}" dt="2019-06-17T21:41:07.891" v="19" actId="1076"/>
        <pc:sldMkLst>
          <pc:docMk/>
          <pc:sldMk cId="3697486356" sldId="429"/>
        </pc:sldMkLst>
        <pc:picChg chg="add mod">
          <ac:chgData name="Oscar Silva" userId="S::oscar.silva_hundred.com.pe#ext#@belcorpbiz.onmicrosoft.com::6509ea30-3ada-4454-82a9-ec2acf182713" providerId="AD" clId="Web-{FAB3A54E-686D-7343-49BA-5CDB861DF607}" dt="2019-06-17T21:41:07.891" v="18" actId="1076"/>
          <ac:picMkLst>
            <pc:docMk/>
            <pc:sldMk cId="3697486356" sldId="429"/>
            <ac:picMk id="4" creationId="{181DDBE1-6947-4ED5-85A3-E5F5B5CDD001}"/>
          </ac:picMkLst>
        </pc:picChg>
        <pc:picChg chg="add mod">
          <ac:chgData name="Oscar Silva" userId="S::oscar.silva_hundred.com.pe#ext#@belcorpbiz.onmicrosoft.com::6509ea30-3ada-4454-82a9-ec2acf182713" providerId="AD" clId="Web-{FAB3A54E-686D-7343-49BA-5CDB861DF607}" dt="2019-06-17T21:41:07.891" v="19" actId="1076"/>
          <ac:picMkLst>
            <pc:docMk/>
            <pc:sldMk cId="3697486356" sldId="429"/>
            <ac:picMk id="6" creationId="{1F8849CC-1EE0-4F43-A0E8-DDB6D85E4C27}"/>
          </ac:picMkLst>
        </pc:picChg>
      </pc:sldChg>
      <pc:sldChg chg="addSp">
        <pc:chgData name="Oscar Silva" userId="S::oscar.silva_hundred.com.pe#ext#@belcorpbiz.onmicrosoft.com::6509ea30-3ada-4454-82a9-ec2acf182713" providerId="AD" clId="Web-{FAB3A54E-686D-7343-49BA-5CDB861DF607}" dt="2019-06-17T21:41:11.719" v="21"/>
        <pc:sldMkLst>
          <pc:docMk/>
          <pc:sldMk cId="856673717" sldId="430"/>
        </pc:sldMkLst>
        <pc:picChg chg="add">
          <ac:chgData name="Oscar Silva" userId="S::oscar.silva_hundred.com.pe#ext#@belcorpbiz.onmicrosoft.com::6509ea30-3ada-4454-82a9-ec2acf182713" providerId="AD" clId="Web-{FAB3A54E-686D-7343-49BA-5CDB861DF607}" dt="2019-06-17T21:41:11.704" v="20"/>
          <ac:picMkLst>
            <pc:docMk/>
            <pc:sldMk cId="856673717" sldId="430"/>
            <ac:picMk id="4" creationId="{DFDCE685-C898-4E21-BABD-426ECEC63139}"/>
          </ac:picMkLst>
        </pc:picChg>
        <pc:picChg chg="add">
          <ac:chgData name="Oscar Silva" userId="S::oscar.silva_hundred.com.pe#ext#@belcorpbiz.onmicrosoft.com::6509ea30-3ada-4454-82a9-ec2acf182713" providerId="AD" clId="Web-{FAB3A54E-686D-7343-49BA-5CDB861DF607}" dt="2019-06-17T21:41:11.719" v="21"/>
          <ac:picMkLst>
            <pc:docMk/>
            <pc:sldMk cId="856673717" sldId="430"/>
            <ac:picMk id="5" creationId="{E4417876-3CDB-4744-BCA7-658B3A6408BF}"/>
          </ac:picMkLst>
        </pc:picChg>
      </pc:sldChg>
      <pc:sldChg chg="addSp">
        <pc:chgData name="Oscar Silva" userId="S::oscar.silva_hundred.com.pe#ext#@belcorpbiz.onmicrosoft.com::6509ea30-3ada-4454-82a9-ec2acf182713" providerId="AD" clId="Web-{FAB3A54E-686D-7343-49BA-5CDB861DF607}" dt="2019-06-17T21:41:14.985" v="23"/>
        <pc:sldMkLst>
          <pc:docMk/>
          <pc:sldMk cId="2912641823" sldId="431"/>
        </pc:sldMkLst>
        <pc:picChg chg="add">
          <ac:chgData name="Oscar Silva" userId="S::oscar.silva_hundred.com.pe#ext#@belcorpbiz.onmicrosoft.com::6509ea30-3ada-4454-82a9-ec2acf182713" providerId="AD" clId="Web-{FAB3A54E-686D-7343-49BA-5CDB861DF607}" dt="2019-06-17T21:41:14.969" v="22"/>
          <ac:picMkLst>
            <pc:docMk/>
            <pc:sldMk cId="2912641823" sldId="431"/>
            <ac:picMk id="4" creationId="{216C508B-AA3F-493F-AEB0-AF5608E2B626}"/>
          </ac:picMkLst>
        </pc:picChg>
        <pc:picChg chg="add">
          <ac:chgData name="Oscar Silva" userId="S::oscar.silva_hundred.com.pe#ext#@belcorpbiz.onmicrosoft.com::6509ea30-3ada-4454-82a9-ec2acf182713" providerId="AD" clId="Web-{FAB3A54E-686D-7343-49BA-5CDB861DF607}" dt="2019-06-17T21:41:14.985" v="23"/>
          <ac:picMkLst>
            <pc:docMk/>
            <pc:sldMk cId="2912641823" sldId="431"/>
            <ac:picMk id="5" creationId="{6DC6ED3A-A701-4306-A7C5-783A326E5D14}"/>
          </ac:picMkLst>
        </pc:picChg>
      </pc:sldChg>
      <pc:sldChg chg="addSp delSp modSp">
        <pc:chgData name="Oscar Silva" userId="S::oscar.silva_hundred.com.pe#ext#@belcorpbiz.onmicrosoft.com::6509ea30-3ada-4454-82a9-ec2acf182713" providerId="AD" clId="Web-{FAB3A54E-686D-7343-49BA-5CDB861DF607}" dt="2019-06-17T21:43:24.768" v="50" actId="1076"/>
        <pc:sldMkLst>
          <pc:docMk/>
          <pc:sldMk cId="2972283451" sldId="432"/>
        </pc:sldMkLst>
        <pc:picChg chg="add del mod modCrop">
          <ac:chgData name="Oscar Silva" userId="S::oscar.silva_hundred.com.pe#ext#@belcorpbiz.onmicrosoft.com::6509ea30-3ada-4454-82a9-ec2acf182713" providerId="AD" clId="Web-{FAB3A54E-686D-7343-49BA-5CDB861DF607}" dt="2019-06-17T21:43:16.737" v="48"/>
          <ac:picMkLst>
            <pc:docMk/>
            <pc:sldMk cId="2972283451" sldId="432"/>
            <ac:picMk id="5" creationId="{4D758D99-A8B2-40A4-B23F-B5EBC410E153}"/>
          </ac:picMkLst>
        </pc:picChg>
        <pc:picChg chg="add mod">
          <ac:chgData name="Oscar Silva" userId="S::oscar.silva_hundred.com.pe#ext#@belcorpbiz.onmicrosoft.com::6509ea30-3ada-4454-82a9-ec2acf182713" providerId="AD" clId="Web-{FAB3A54E-686D-7343-49BA-5CDB861DF607}" dt="2019-06-17T21:43:24.768" v="50" actId="1076"/>
          <ac:picMkLst>
            <pc:docMk/>
            <pc:sldMk cId="2972283451" sldId="432"/>
            <ac:picMk id="7" creationId="{28D3E866-012A-492F-9CC9-16BAB3F7F485}"/>
          </ac:picMkLst>
        </pc:picChg>
        <pc:picChg chg="add del mod">
          <ac:chgData name="Oscar Silva" userId="S::oscar.silva_hundred.com.pe#ext#@belcorpbiz.onmicrosoft.com::6509ea30-3ada-4454-82a9-ec2acf182713" providerId="AD" clId="Web-{FAB3A54E-686D-7343-49BA-5CDB861DF607}" dt="2019-06-17T21:42:54.268" v="39"/>
          <ac:picMkLst>
            <pc:docMk/>
            <pc:sldMk cId="2972283451" sldId="432"/>
            <ac:picMk id="9" creationId="{594253FD-12D3-436C-92F3-4D5EE04F8CC6}"/>
          </ac:picMkLst>
        </pc:picChg>
      </pc:sldChg>
      <pc:sldChg chg="addSp delSp modSp">
        <pc:chgData name="Oscar Silva" userId="S::oscar.silva_hundred.com.pe#ext#@belcorpbiz.onmicrosoft.com::6509ea30-3ada-4454-82a9-ec2acf182713" providerId="AD" clId="Web-{FAB3A54E-686D-7343-49BA-5CDB861DF607}" dt="2019-06-17T21:43:48.472" v="61" actId="1076"/>
        <pc:sldMkLst>
          <pc:docMk/>
          <pc:sldMk cId="272399855" sldId="433"/>
        </pc:sldMkLst>
        <pc:spChg chg="mod">
          <ac:chgData name="Oscar Silva" userId="S::oscar.silva_hundred.com.pe#ext#@belcorpbiz.onmicrosoft.com::6509ea30-3ada-4454-82a9-ec2acf182713" providerId="AD" clId="Web-{FAB3A54E-686D-7343-49BA-5CDB861DF607}" dt="2019-06-17T21:43:37.065" v="57" actId="1076"/>
          <ac:spMkLst>
            <pc:docMk/>
            <pc:sldMk cId="272399855" sldId="433"/>
            <ac:spMk id="3" creationId="{1643E306-05F4-4008-A7F6-169E9044F9A6}"/>
          </ac:spMkLst>
        </pc:spChg>
        <pc:picChg chg="add del mod">
          <ac:chgData name="Oscar Silva" userId="S::oscar.silva_hundred.com.pe#ext#@belcorpbiz.onmicrosoft.com::6509ea30-3ada-4454-82a9-ec2acf182713" providerId="AD" clId="Web-{FAB3A54E-686D-7343-49BA-5CDB861DF607}" dt="2019-06-17T21:43:08.143" v="46"/>
          <ac:picMkLst>
            <pc:docMk/>
            <pc:sldMk cId="272399855" sldId="433"/>
            <ac:picMk id="4" creationId="{31B0AABF-941D-4282-B0A5-63140A5A4F80}"/>
          </ac:picMkLst>
        </pc:picChg>
        <pc:picChg chg="add del mod">
          <ac:chgData name="Oscar Silva" userId="S::oscar.silva_hundred.com.pe#ext#@belcorpbiz.onmicrosoft.com::6509ea30-3ada-4454-82a9-ec2acf182713" providerId="AD" clId="Web-{FAB3A54E-686D-7343-49BA-5CDB861DF607}" dt="2019-06-17T21:43:33.581" v="54"/>
          <ac:picMkLst>
            <pc:docMk/>
            <pc:sldMk cId="272399855" sldId="433"/>
            <ac:picMk id="7" creationId="{04BCC285-5806-42B5-9A95-398627BF58CB}"/>
          </ac:picMkLst>
        </pc:picChg>
        <pc:picChg chg="add del mod">
          <ac:chgData name="Oscar Silva" userId="S::oscar.silva_hundred.com.pe#ext#@belcorpbiz.onmicrosoft.com::6509ea30-3ada-4454-82a9-ec2acf182713" providerId="AD" clId="Web-{FAB3A54E-686D-7343-49BA-5CDB861DF607}" dt="2019-06-17T21:43:09.737" v="47"/>
          <ac:picMkLst>
            <pc:docMk/>
            <pc:sldMk cId="272399855" sldId="433"/>
            <ac:picMk id="10" creationId="{5927F76E-0C3B-4376-9060-E44AF438BE97}"/>
          </ac:picMkLst>
        </pc:picChg>
        <pc:picChg chg="add mod">
          <ac:chgData name="Oscar Silva" userId="S::oscar.silva_hundred.com.pe#ext#@belcorpbiz.onmicrosoft.com::6509ea30-3ada-4454-82a9-ec2acf182713" providerId="AD" clId="Web-{FAB3A54E-686D-7343-49BA-5CDB861DF607}" dt="2019-06-17T21:43:48.472" v="61" actId="1076"/>
          <ac:picMkLst>
            <pc:docMk/>
            <pc:sldMk cId="272399855" sldId="433"/>
            <ac:picMk id="11" creationId="{831C65E2-FBF9-4592-916B-6FEE4E853D8B}"/>
          </ac:picMkLst>
        </pc:picChg>
      </pc:sldChg>
      <pc:sldChg chg="addSp">
        <pc:chgData name="Oscar Silva" userId="S::oscar.silva_hundred.com.pe#ext#@belcorpbiz.onmicrosoft.com::6509ea30-3ada-4454-82a9-ec2acf182713" providerId="AD" clId="Web-{FAB3A54E-686D-7343-49BA-5CDB861DF607}" dt="2019-06-17T21:43:51.237" v="62"/>
        <pc:sldMkLst>
          <pc:docMk/>
          <pc:sldMk cId="2016761816" sldId="434"/>
        </pc:sldMkLst>
        <pc:picChg chg="add">
          <ac:chgData name="Oscar Silva" userId="S::oscar.silva_hundred.com.pe#ext#@belcorpbiz.onmicrosoft.com::6509ea30-3ada-4454-82a9-ec2acf182713" providerId="AD" clId="Web-{FAB3A54E-686D-7343-49BA-5CDB861DF607}" dt="2019-06-17T21:43:51.237" v="62"/>
          <ac:picMkLst>
            <pc:docMk/>
            <pc:sldMk cId="2016761816" sldId="434"/>
            <ac:picMk id="4" creationId="{AD0836D6-97E4-461F-BFCA-1EF0BBD4C6C6}"/>
          </ac:picMkLst>
        </pc:picChg>
      </pc:sldChg>
      <pc:sldChg chg="addSp delSp modSp">
        <pc:chgData name="Oscar Silva" userId="S::oscar.silva_hundred.com.pe#ext#@belcorpbiz.onmicrosoft.com::6509ea30-3ada-4454-82a9-ec2acf182713" providerId="AD" clId="Web-{FAB3A54E-686D-7343-49BA-5CDB861DF607}" dt="2019-06-17T21:58:26.783" v="105" actId="1076"/>
        <pc:sldMkLst>
          <pc:docMk/>
          <pc:sldMk cId="882450599" sldId="436"/>
        </pc:sldMkLst>
        <pc:picChg chg="add del mod modCrop">
          <ac:chgData name="Oscar Silva" userId="S::oscar.silva_hundred.com.pe#ext#@belcorpbiz.onmicrosoft.com::6509ea30-3ada-4454-82a9-ec2acf182713" providerId="AD" clId="Web-{FAB3A54E-686D-7343-49BA-5CDB861DF607}" dt="2019-06-17T21:57:04.062" v="99"/>
          <ac:picMkLst>
            <pc:docMk/>
            <pc:sldMk cId="882450599" sldId="436"/>
            <ac:picMk id="3" creationId="{452CBB96-CDBB-4482-9EDF-1FFD16F9FCFF}"/>
          </ac:picMkLst>
        </pc:picChg>
        <pc:picChg chg="add mod">
          <ac:chgData name="Oscar Silva" userId="S::oscar.silva_hundred.com.pe#ext#@belcorpbiz.onmicrosoft.com::6509ea30-3ada-4454-82a9-ec2acf182713" providerId="AD" clId="Web-{FAB3A54E-686D-7343-49BA-5CDB861DF607}" dt="2019-06-17T21:57:33.110" v="103" actId="1076"/>
          <ac:picMkLst>
            <pc:docMk/>
            <pc:sldMk cId="882450599" sldId="436"/>
            <ac:picMk id="6" creationId="{CE495C09-2C5C-480A-99D2-DE8F43690C2C}"/>
          </ac:picMkLst>
        </pc:picChg>
        <pc:picChg chg="mod">
          <ac:chgData name="Oscar Silva" userId="S::oscar.silva_hundred.com.pe#ext#@belcorpbiz.onmicrosoft.com::6509ea30-3ada-4454-82a9-ec2acf182713" providerId="AD" clId="Web-{FAB3A54E-686D-7343-49BA-5CDB861DF607}" dt="2019-06-17T21:58:26.783" v="105" actId="1076"/>
          <ac:picMkLst>
            <pc:docMk/>
            <pc:sldMk cId="882450599" sldId="436"/>
            <ac:picMk id="11" creationId="{D8BBEAEF-784F-4F84-BA32-464ED70D5530}"/>
          </ac:picMkLst>
        </pc:picChg>
        <pc:picChg chg="mod">
          <ac:chgData name="Oscar Silva" userId="S::oscar.silva_hundred.com.pe#ext#@belcorpbiz.onmicrosoft.com::6509ea30-3ada-4454-82a9-ec2acf182713" providerId="AD" clId="Web-{FAB3A54E-686D-7343-49BA-5CDB861DF607}" dt="2019-06-17T21:55:07.639" v="87" actId="1076"/>
          <ac:picMkLst>
            <pc:docMk/>
            <pc:sldMk cId="882450599" sldId="436"/>
            <ac:picMk id="13" creationId="{53AA138A-AE77-411F-BD39-4007D79C8354}"/>
          </ac:picMkLst>
        </pc:picChg>
      </pc:sldChg>
    </pc:docChg>
  </pc:docChgLst>
  <pc:docChgLst>
    <pc:chgData name="Omar Rojas" userId="S::omar.rojas_hundred.com.pe#ext#@belcorpbiz.onmicrosoft.com::c3ef5a6a-094a-4eb5-b410-1ef7bc9be540" providerId="AD" clId="Web-{2E07B857-48CE-43AC-96DE-4812945818C4}"/>
    <pc:docChg chg="addSld modSld sldOrd">
      <pc:chgData name="Omar Rojas" userId="S::omar.rojas_hundred.com.pe#ext#@belcorpbiz.onmicrosoft.com::c3ef5a6a-094a-4eb5-b410-1ef7bc9be540" providerId="AD" clId="Web-{2E07B857-48CE-43AC-96DE-4812945818C4}" dt="2019-06-17T19:09:17.252" v="568" actId="20577"/>
      <pc:docMkLst>
        <pc:docMk/>
      </pc:docMkLst>
      <pc:sldChg chg="delSp modSp ord">
        <pc:chgData name="Omar Rojas" userId="S::omar.rojas_hundred.com.pe#ext#@belcorpbiz.onmicrosoft.com::c3ef5a6a-094a-4eb5-b410-1ef7bc9be540" providerId="AD" clId="Web-{2E07B857-48CE-43AC-96DE-4812945818C4}" dt="2019-06-17T18:41:05.134" v="253" actId="20577"/>
        <pc:sldMkLst>
          <pc:docMk/>
          <pc:sldMk cId="2944831833" sldId="410"/>
        </pc:sldMkLst>
        <pc:spChg chg="del">
          <ac:chgData name="Omar Rojas" userId="S::omar.rojas_hundred.com.pe#ext#@belcorpbiz.onmicrosoft.com::c3ef5a6a-094a-4eb5-b410-1ef7bc9be540" providerId="AD" clId="Web-{2E07B857-48CE-43AC-96DE-4812945818C4}" dt="2019-06-17T18:23:56.051" v="46"/>
          <ac:spMkLst>
            <pc:docMk/>
            <pc:sldMk cId="2944831833" sldId="410"/>
            <ac:spMk id="3" creationId="{AA011A3A-560B-4AB3-A776-D91AA6A8C46F}"/>
          </ac:spMkLst>
        </pc:spChg>
        <pc:spChg chg="del">
          <ac:chgData name="Omar Rojas" userId="S::omar.rojas_hundred.com.pe#ext#@belcorpbiz.onmicrosoft.com::c3ef5a6a-094a-4eb5-b410-1ef7bc9be540" providerId="AD" clId="Web-{2E07B857-48CE-43AC-96DE-4812945818C4}" dt="2019-06-17T18:23:57.066" v="47"/>
          <ac:spMkLst>
            <pc:docMk/>
            <pc:sldMk cId="2944831833" sldId="410"/>
            <ac:spMk id="7" creationId="{501B8B08-DAA7-4054-B5D4-88F7FD6A99DF}"/>
          </ac:spMkLst>
        </pc:spChg>
        <pc:spChg chg="del">
          <ac:chgData name="Omar Rojas" userId="S::omar.rojas_hundred.com.pe#ext#@belcorpbiz.onmicrosoft.com::c3ef5a6a-094a-4eb5-b410-1ef7bc9be540" providerId="AD" clId="Web-{2E07B857-48CE-43AC-96DE-4812945818C4}" dt="2019-06-17T18:21:55.284" v="5"/>
          <ac:spMkLst>
            <pc:docMk/>
            <pc:sldMk cId="2944831833" sldId="410"/>
            <ac:spMk id="8" creationId="{9E1CB566-BFF2-48AF-8FA7-7D4C3CED9ED7}"/>
          </ac:spMkLst>
        </pc:spChg>
        <pc:spChg chg="mod">
          <ac:chgData name="Omar Rojas" userId="S::omar.rojas_hundred.com.pe#ext#@belcorpbiz.onmicrosoft.com::c3ef5a6a-094a-4eb5-b410-1ef7bc9be540" providerId="AD" clId="Web-{2E07B857-48CE-43AC-96DE-4812945818C4}" dt="2019-06-17T18:41:05.134" v="253" actId="20577"/>
          <ac:spMkLst>
            <pc:docMk/>
            <pc:sldMk cId="2944831833" sldId="410"/>
            <ac:spMk id="19" creationId="{B99CFB41-5272-E441-B74F-EF8325FF79C8}"/>
          </ac:spMkLst>
        </pc:spChg>
        <pc:spChg chg="mod">
          <ac:chgData name="Omar Rojas" userId="S::omar.rojas_hundred.com.pe#ext#@belcorpbiz.onmicrosoft.com::c3ef5a6a-094a-4eb5-b410-1ef7bc9be540" providerId="AD" clId="Web-{2E07B857-48CE-43AC-96DE-4812945818C4}" dt="2019-06-17T18:21:48.566" v="4" actId="20577"/>
          <ac:spMkLst>
            <pc:docMk/>
            <pc:sldMk cId="2944831833" sldId="410"/>
            <ac:spMk id="220" creationId="{00000000-0000-0000-0000-000000000000}"/>
          </ac:spMkLst>
        </pc:spChg>
        <pc:cxnChg chg="del">
          <ac:chgData name="Omar Rojas" userId="S::omar.rojas_hundred.com.pe#ext#@belcorpbiz.onmicrosoft.com::c3ef5a6a-094a-4eb5-b410-1ef7bc9be540" providerId="AD" clId="Web-{2E07B857-48CE-43AC-96DE-4812945818C4}" dt="2019-06-17T18:21:58.300" v="6"/>
          <ac:cxnSpMkLst>
            <pc:docMk/>
            <pc:sldMk cId="2944831833" sldId="410"/>
            <ac:cxnSpMk id="4" creationId="{31759264-7F59-4D70-8FC6-2FB114249C5A}"/>
          </ac:cxnSpMkLst>
        </pc:cxnChg>
      </pc:sldChg>
      <pc:sldChg chg="addSp modSp">
        <pc:chgData name="Omar Rojas" userId="S::omar.rojas_hundred.com.pe#ext#@belcorpbiz.onmicrosoft.com::c3ef5a6a-094a-4eb5-b410-1ef7bc9be540" providerId="AD" clId="Web-{2E07B857-48CE-43AC-96DE-4812945818C4}" dt="2019-06-17T19:08:43.220" v="555" actId="20577"/>
        <pc:sldMkLst>
          <pc:docMk/>
          <pc:sldMk cId="2202346401" sldId="415"/>
        </pc:sldMkLst>
        <pc:spChg chg="add mod">
          <ac:chgData name="Omar Rojas" userId="S::omar.rojas_hundred.com.pe#ext#@belcorpbiz.onmicrosoft.com::c3ef5a6a-094a-4eb5-b410-1ef7bc9be540" providerId="AD" clId="Web-{2E07B857-48CE-43AC-96DE-4812945818C4}" dt="2019-06-17T19:08:43.220" v="555" actId="20577"/>
          <ac:spMkLst>
            <pc:docMk/>
            <pc:sldMk cId="2202346401" sldId="415"/>
            <ac:spMk id="2" creationId="{6D9F2282-E4BC-4922-91A2-B7ECB64D89EE}"/>
          </ac:spMkLst>
        </pc:spChg>
        <pc:spChg chg="mod">
          <ac:chgData name="Omar Rojas" userId="S::omar.rojas_hundred.com.pe#ext#@belcorpbiz.onmicrosoft.com::c3ef5a6a-094a-4eb5-b410-1ef7bc9be540" providerId="AD" clId="Web-{2E07B857-48CE-43AC-96DE-4812945818C4}" dt="2019-06-17T19:06:22.063" v="508" actId="20577"/>
          <ac:spMkLst>
            <pc:docMk/>
            <pc:sldMk cId="2202346401" sldId="415"/>
            <ac:spMk id="220" creationId="{00000000-0000-0000-0000-000000000000}"/>
          </ac:spMkLst>
        </pc:spChg>
        <pc:graphicFrameChg chg="mod modGraphic">
          <ac:chgData name="Omar Rojas" userId="S::omar.rojas_hundred.com.pe#ext#@belcorpbiz.onmicrosoft.com::c3ef5a6a-094a-4eb5-b410-1ef7bc9be540" providerId="AD" clId="Web-{2E07B857-48CE-43AC-96DE-4812945818C4}" dt="2019-06-17T19:07:47.157" v="521" actId="1076"/>
          <ac:graphicFrameMkLst>
            <pc:docMk/>
            <pc:sldMk cId="2202346401" sldId="415"/>
            <ac:graphicFrameMk id="11" creationId="{87CEF300-7200-49F1-AFAB-5CA57E3F38F2}"/>
          </ac:graphicFrameMkLst>
        </pc:graphicFrameChg>
        <pc:picChg chg="mod">
          <ac:chgData name="Omar Rojas" userId="S::omar.rojas_hundred.com.pe#ext#@belcorpbiz.onmicrosoft.com::c3ef5a6a-094a-4eb5-b410-1ef7bc9be540" providerId="AD" clId="Web-{2E07B857-48CE-43AC-96DE-4812945818C4}" dt="2019-06-17T19:08:09.845" v="531" actId="1076"/>
          <ac:picMkLst>
            <pc:docMk/>
            <pc:sldMk cId="2202346401" sldId="415"/>
            <ac:picMk id="6" creationId="{D87A1F7C-0150-405F-9E55-BA978F7CC15B}"/>
          </ac:picMkLst>
        </pc:picChg>
      </pc:sldChg>
      <pc:sldChg chg="addSp modSp">
        <pc:chgData name="Omar Rojas" userId="S::omar.rojas_hundred.com.pe#ext#@belcorpbiz.onmicrosoft.com::c3ef5a6a-094a-4eb5-b410-1ef7bc9be540" providerId="AD" clId="Web-{2E07B857-48CE-43AC-96DE-4812945818C4}" dt="2019-06-17T19:09:16.267" v="566" actId="20577"/>
        <pc:sldMkLst>
          <pc:docMk/>
          <pc:sldMk cId="3366836123" sldId="419"/>
        </pc:sldMkLst>
        <pc:spChg chg="add mod">
          <ac:chgData name="Omar Rojas" userId="S::omar.rojas_hundred.com.pe#ext#@belcorpbiz.onmicrosoft.com::c3ef5a6a-094a-4eb5-b410-1ef7bc9be540" providerId="AD" clId="Web-{2E07B857-48CE-43AC-96DE-4812945818C4}" dt="2019-06-17T19:09:16.267" v="566" actId="20577"/>
          <ac:spMkLst>
            <pc:docMk/>
            <pc:sldMk cId="3366836123" sldId="419"/>
            <ac:spMk id="3" creationId="{C4283335-37BB-4CCC-8C6F-EC6A25661316}"/>
          </ac:spMkLst>
        </pc:spChg>
        <pc:spChg chg="mod">
          <ac:chgData name="Omar Rojas" userId="S::omar.rojas_hundred.com.pe#ext#@belcorpbiz.onmicrosoft.com::c3ef5a6a-094a-4eb5-b410-1ef7bc9be540" providerId="AD" clId="Web-{2E07B857-48CE-43AC-96DE-4812945818C4}" dt="2019-06-17T19:08:56.486" v="562" actId="20577"/>
          <ac:spMkLst>
            <pc:docMk/>
            <pc:sldMk cId="3366836123" sldId="419"/>
            <ac:spMk id="220" creationId="{00000000-0000-0000-0000-000000000000}"/>
          </ac:spMkLst>
        </pc:spChg>
        <pc:graphicFrameChg chg="mod">
          <ac:chgData name="Omar Rojas" userId="S::omar.rojas_hundred.com.pe#ext#@belcorpbiz.onmicrosoft.com::c3ef5a6a-094a-4eb5-b410-1ef7bc9be540" providerId="AD" clId="Web-{2E07B857-48CE-43AC-96DE-4812945818C4}" dt="2019-06-17T19:09:05.798" v="564" actId="1076"/>
          <ac:graphicFrameMkLst>
            <pc:docMk/>
            <pc:sldMk cId="3366836123" sldId="419"/>
            <ac:graphicFrameMk id="11" creationId="{87CEF300-7200-49F1-AFAB-5CA57E3F38F2}"/>
          </ac:graphicFrameMkLst>
        </pc:graphicFrameChg>
        <pc:picChg chg="mod">
          <ac:chgData name="Omar Rojas" userId="S::omar.rojas_hundred.com.pe#ext#@belcorpbiz.onmicrosoft.com::c3ef5a6a-094a-4eb5-b410-1ef7bc9be540" providerId="AD" clId="Web-{2E07B857-48CE-43AC-96DE-4812945818C4}" dt="2019-06-17T19:09:00.001" v="563" actId="1076"/>
          <ac:picMkLst>
            <pc:docMk/>
            <pc:sldMk cId="3366836123" sldId="419"/>
            <ac:picMk id="2" creationId="{B4D3EFED-D371-4D51-AA87-96B84B873BA1}"/>
          </ac:picMkLst>
        </pc:picChg>
      </pc:sldChg>
      <pc:sldChg chg="add replId">
        <pc:chgData name="Omar Rojas" userId="S::omar.rojas_hundred.com.pe#ext#@belcorpbiz.onmicrosoft.com::c3ef5a6a-094a-4eb5-b410-1ef7bc9be540" providerId="AD" clId="Web-{2E07B857-48CE-43AC-96DE-4812945818C4}" dt="2019-06-17T18:21:21.956" v="0"/>
        <pc:sldMkLst>
          <pc:docMk/>
          <pc:sldMk cId="442502169" sldId="424"/>
        </pc:sldMkLst>
      </pc:sldChg>
      <pc:sldChg chg="addSp delSp modSp add replId">
        <pc:chgData name="Omar Rojas" userId="S::omar.rojas_hundred.com.pe#ext#@belcorpbiz.onmicrosoft.com::c3ef5a6a-094a-4eb5-b410-1ef7bc9be540" providerId="AD" clId="Web-{2E07B857-48CE-43AC-96DE-4812945818C4}" dt="2019-06-17T18:49:39.043" v="434" actId="20577"/>
        <pc:sldMkLst>
          <pc:docMk/>
          <pc:sldMk cId="3489510354" sldId="425"/>
        </pc:sldMkLst>
        <pc:spChg chg="add mod">
          <ac:chgData name="Omar Rojas" userId="S::omar.rojas_hundred.com.pe#ext#@belcorpbiz.onmicrosoft.com::c3ef5a6a-094a-4eb5-b410-1ef7bc9be540" providerId="AD" clId="Web-{2E07B857-48CE-43AC-96DE-4812945818C4}" dt="2019-06-17T18:49:39.043" v="434" actId="20577"/>
          <ac:spMkLst>
            <pc:docMk/>
            <pc:sldMk cId="3489510354" sldId="425"/>
            <ac:spMk id="7" creationId="{E6943C90-F9DE-4531-84E9-1642E654DC12}"/>
          </ac:spMkLst>
        </pc:spChg>
        <pc:spChg chg="add del mod">
          <ac:chgData name="Omar Rojas" userId="S::omar.rojas_hundred.com.pe#ext#@belcorpbiz.onmicrosoft.com::c3ef5a6a-094a-4eb5-b410-1ef7bc9be540" providerId="AD" clId="Web-{2E07B857-48CE-43AC-96DE-4812945818C4}" dt="2019-06-17T18:48:58.058" v="423" actId="14100"/>
          <ac:spMkLst>
            <pc:docMk/>
            <pc:sldMk cId="3489510354" sldId="425"/>
            <ac:spMk id="19" creationId="{B99CFB41-5272-E441-B74F-EF8325FF79C8}"/>
          </ac:spMkLst>
        </pc:spChg>
        <pc:spChg chg="mod">
          <ac:chgData name="Omar Rojas" userId="S::omar.rojas_hundred.com.pe#ext#@belcorpbiz.onmicrosoft.com::c3ef5a6a-094a-4eb5-b410-1ef7bc9be540" providerId="AD" clId="Web-{2E07B857-48CE-43AC-96DE-4812945818C4}" dt="2019-06-17T18:42:51.916" v="256" actId="20577"/>
          <ac:spMkLst>
            <pc:docMk/>
            <pc:sldMk cId="3489510354" sldId="425"/>
            <ac:spMk id="220" creationId="{00000000-0000-0000-0000-000000000000}"/>
          </ac:spMkLst>
        </pc:spChg>
        <pc:picChg chg="add mod">
          <ac:chgData name="Omar Rojas" userId="S::omar.rojas_hundred.com.pe#ext#@belcorpbiz.onmicrosoft.com::c3ef5a6a-094a-4eb5-b410-1ef7bc9be540" providerId="AD" clId="Web-{2E07B857-48CE-43AC-96DE-4812945818C4}" dt="2019-06-17T18:49:29.511" v="431" actId="1076"/>
          <ac:picMkLst>
            <pc:docMk/>
            <pc:sldMk cId="3489510354" sldId="425"/>
            <ac:picMk id="2" creationId="{45322725-2FC8-4934-BAAC-EB7F7F8CDB3B}"/>
          </ac:picMkLst>
        </pc:picChg>
      </pc:sldChg>
      <pc:sldChg chg="addSp delSp modSp add replId">
        <pc:chgData name="Omar Rojas" userId="S::omar.rojas_hundred.com.pe#ext#@belcorpbiz.onmicrosoft.com::c3ef5a6a-094a-4eb5-b410-1ef7bc9be540" providerId="AD" clId="Web-{2E07B857-48CE-43AC-96DE-4812945818C4}" dt="2019-06-17T18:53:12.794" v="503" actId="1076"/>
        <pc:sldMkLst>
          <pc:docMk/>
          <pc:sldMk cId="2216389054" sldId="426"/>
        </pc:sldMkLst>
        <pc:spChg chg="mod">
          <ac:chgData name="Omar Rojas" userId="S::omar.rojas_hundred.com.pe#ext#@belcorpbiz.onmicrosoft.com::c3ef5a6a-094a-4eb5-b410-1ef7bc9be540" providerId="AD" clId="Web-{2E07B857-48CE-43AC-96DE-4812945818C4}" dt="2019-06-17T18:51:08.152" v="492" actId="1076"/>
          <ac:spMkLst>
            <pc:docMk/>
            <pc:sldMk cId="2216389054" sldId="426"/>
            <ac:spMk id="19" creationId="{B99CFB41-5272-E441-B74F-EF8325FF79C8}"/>
          </ac:spMkLst>
        </pc:spChg>
        <pc:picChg chg="del">
          <ac:chgData name="Omar Rojas" userId="S::omar.rojas_hundred.com.pe#ext#@belcorpbiz.onmicrosoft.com::c3ef5a6a-094a-4eb5-b410-1ef7bc9be540" providerId="AD" clId="Web-{2E07B857-48CE-43AC-96DE-4812945818C4}" dt="2019-06-17T18:47:04.886" v="372"/>
          <ac:picMkLst>
            <pc:docMk/>
            <pc:sldMk cId="2216389054" sldId="426"/>
            <ac:picMk id="2" creationId="{45322725-2FC8-4934-BAAC-EB7F7F8CDB3B}"/>
          </ac:picMkLst>
        </pc:picChg>
        <pc:picChg chg="add del mod">
          <ac:chgData name="Omar Rojas" userId="S::omar.rojas_hundred.com.pe#ext#@belcorpbiz.onmicrosoft.com::c3ef5a6a-094a-4eb5-b410-1ef7bc9be540" providerId="AD" clId="Web-{2E07B857-48CE-43AC-96DE-4812945818C4}" dt="2019-06-17T18:48:23.652" v="415"/>
          <ac:picMkLst>
            <pc:docMk/>
            <pc:sldMk cId="2216389054" sldId="426"/>
            <ac:picMk id="3" creationId="{31EE1B5B-9305-428C-90A3-FA733C2DC501}"/>
          </ac:picMkLst>
        </pc:picChg>
        <pc:picChg chg="add del mod">
          <ac:chgData name="Omar Rojas" userId="S::omar.rojas_hundred.com.pe#ext#@belcorpbiz.onmicrosoft.com::c3ef5a6a-094a-4eb5-b410-1ef7bc9be540" providerId="AD" clId="Web-{2E07B857-48CE-43AC-96DE-4812945818C4}" dt="2019-06-17T18:53:04.778" v="498"/>
          <ac:picMkLst>
            <pc:docMk/>
            <pc:sldMk cId="2216389054" sldId="426"/>
            <ac:picMk id="5" creationId="{594EDAFA-9D01-4558-8D6B-600FF7EB1AE9}"/>
          </ac:picMkLst>
        </pc:picChg>
        <pc:picChg chg="add mod">
          <ac:chgData name="Omar Rojas" userId="S::omar.rojas_hundred.com.pe#ext#@belcorpbiz.onmicrosoft.com::c3ef5a6a-094a-4eb5-b410-1ef7bc9be540" providerId="AD" clId="Web-{2E07B857-48CE-43AC-96DE-4812945818C4}" dt="2019-06-17T18:53:12.794" v="503" actId="1076"/>
          <ac:picMkLst>
            <pc:docMk/>
            <pc:sldMk cId="2216389054" sldId="426"/>
            <ac:picMk id="7" creationId="{DFA231D6-7264-40DF-8D86-9EEFF457F0DE}"/>
          </ac:picMkLst>
        </pc:picChg>
      </pc:sldChg>
    </pc:docChg>
  </pc:docChgLst>
  <pc:docChgLst>
    <pc:chgData name="Oscar Silva" userId="S::oscar.silva_hundred.com.pe#ext#@belcorpbiz.onmicrosoft.com::6509ea30-3ada-4454-82a9-ec2acf182713" providerId="AD" clId="Web-{93E028AB-A947-4BB5-A3F8-6F5FDA2FD5E9}"/>
    <pc:docChg chg="addSld modSld sldOrd">
      <pc:chgData name="Oscar Silva" userId="S::oscar.silva_hundred.com.pe#ext#@belcorpbiz.onmicrosoft.com::6509ea30-3ada-4454-82a9-ec2acf182713" providerId="AD" clId="Web-{93E028AB-A947-4BB5-A3F8-6F5FDA2FD5E9}" dt="2019-06-17T15:58:41.697" v="159" actId="20577"/>
      <pc:docMkLst>
        <pc:docMk/>
      </pc:docMkLst>
      <pc:sldChg chg="modSp add ord replId">
        <pc:chgData name="Oscar Silva" userId="S::oscar.silva_hundred.com.pe#ext#@belcorpbiz.onmicrosoft.com::6509ea30-3ada-4454-82a9-ec2acf182713" providerId="AD" clId="Web-{93E028AB-A947-4BB5-A3F8-6F5FDA2FD5E9}" dt="2019-06-17T15:48:33.809" v="11" actId="20577"/>
        <pc:sldMkLst>
          <pc:docMk/>
          <pc:sldMk cId="841578015" sldId="403"/>
        </pc:sldMkLst>
        <pc:spChg chg="mod">
          <ac:chgData name="Oscar Silva" userId="S::oscar.silva_hundred.com.pe#ext#@belcorpbiz.onmicrosoft.com::6509ea30-3ada-4454-82a9-ec2acf182713" providerId="AD" clId="Web-{93E028AB-A947-4BB5-A3F8-6F5FDA2FD5E9}" dt="2019-06-17T15:48:33.809" v="11" actId="20577"/>
          <ac:spMkLst>
            <pc:docMk/>
            <pc:sldMk cId="841578015" sldId="403"/>
            <ac:spMk id="293" creationId="{00000000-0000-0000-0000-000000000000}"/>
          </ac:spMkLst>
        </pc:spChg>
      </pc:sldChg>
      <pc:sldChg chg="addSp delSp modSp new mod setBg">
        <pc:chgData name="Oscar Silva" userId="S::oscar.silva_hundred.com.pe#ext#@belcorpbiz.onmicrosoft.com::6509ea30-3ada-4454-82a9-ec2acf182713" providerId="AD" clId="Web-{93E028AB-A947-4BB5-A3F8-6F5FDA2FD5E9}" dt="2019-06-17T15:58:38.962" v="157" actId="20577"/>
        <pc:sldMkLst>
          <pc:docMk/>
          <pc:sldMk cId="4227590305" sldId="404"/>
        </pc:sldMkLst>
        <pc:spChg chg="mod ord">
          <ac:chgData name="Oscar Silva" userId="S::oscar.silva_hundred.com.pe#ext#@belcorpbiz.onmicrosoft.com::6509ea30-3ada-4454-82a9-ec2acf182713" providerId="AD" clId="Web-{93E028AB-A947-4BB5-A3F8-6F5FDA2FD5E9}" dt="2019-06-17T15:57:00.739" v="32" actId="20577"/>
          <ac:spMkLst>
            <pc:docMk/>
            <pc:sldMk cId="4227590305" sldId="404"/>
            <ac:spMk id="2" creationId="{C2DF2AFA-C34C-4A8B-A775-9E1050F5D493}"/>
          </ac:spMkLst>
        </pc:spChg>
        <pc:spChg chg="del">
          <ac:chgData name="Oscar Silva" userId="S::oscar.silva_hundred.com.pe#ext#@belcorpbiz.onmicrosoft.com::6509ea30-3ada-4454-82a9-ec2acf182713" providerId="AD" clId="Web-{93E028AB-A947-4BB5-A3F8-6F5FDA2FD5E9}" dt="2019-06-17T15:56:23.034" v="13"/>
          <ac:spMkLst>
            <pc:docMk/>
            <pc:sldMk cId="4227590305" sldId="404"/>
            <ac:spMk id="3" creationId="{7809C700-CF9B-4895-AA78-E156FECA1570}"/>
          </ac:spMkLst>
        </pc:spChg>
        <pc:spChg chg="mod">
          <ac:chgData name="Oscar Silva" userId="S::oscar.silva_hundred.com.pe#ext#@belcorpbiz.onmicrosoft.com::6509ea30-3ada-4454-82a9-ec2acf182713" providerId="AD" clId="Web-{93E028AB-A947-4BB5-A3F8-6F5FDA2FD5E9}" dt="2019-06-17T15:58:38.962" v="157" actId="20577"/>
          <ac:spMkLst>
            <pc:docMk/>
            <pc:sldMk cId="4227590305" sldId="404"/>
            <ac:spMk id="4" creationId="{98DB70BF-04FF-491C-BBF8-576221E97F3E}"/>
          </ac:spMkLst>
        </pc:spChg>
        <pc:spChg chg="add del">
          <ac:chgData name="Oscar Silva" userId="S::oscar.silva_hundred.com.pe#ext#@belcorpbiz.onmicrosoft.com::6509ea30-3ada-4454-82a9-ec2acf182713" providerId="AD" clId="Web-{93E028AB-A947-4BB5-A3F8-6F5FDA2FD5E9}" dt="2019-06-17T15:56:39.457" v="15"/>
          <ac:spMkLst>
            <pc:docMk/>
            <pc:sldMk cId="4227590305" sldId="404"/>
            <ac:spMk id="10" creationId="{42A5316D-ED2F-4F89-B4B4-8D9240B1A348}"/>
          </ac:spMkLst>
        </pc:spChg>
        <pc:spChg chg="add">
          <ac:chgData name="Oscar Silva" userId="S::oscar.silva_hundred.com.pe#ext#@belcorpbiz.onmicrosoft.com::6509ea30-3ada-4454-82a9-ec2acf182713" providerId="AD" clId="Web-{93E028AB-A947-4BB5-A3F8-6F5FDA2FD5E9}" dt="2019-06-17T15:56:39.472" v="16"/>
          <ac:spMkLst>
            <pc:docMk/>
            <pc:sldMk cId="4227590305" sldId="404"/>
            <ac:spMk id="12" creationId="{569C1A01-6FB5-43CE-ADCC-936728ACAC0D}"/>
          </ac:spMkLst>
        </pc:spChg>
        <pc:picChg chg="add mod ord">
          <ac:chgData name="Oscar Silva" userId="S::oscar.silva_hundred.com.pe#ext#@belcorpbiz.onmicrosoft.com::6509ea30-3ada-4454-82a9-ec2acf182713" providerId="AD" clId="Web-{93E028AB-A947-4BB5-A3F8-6F5FDA2FD5E9}" dt="2019-06-17T15:56:39.472" v="16"/>
          <ac:picMkLst>
            <pc:docMk/>
            <pc:sldMk cId="4227590305" sldId="404"/>
            <ac:picMk id="5" creationId="{391C7A1D-7393-4F19-86F5-D6F8F34D1CF2}"/>
          </ac:picMkLst>
        </pc:picChg>
        <pc:picChg chg="add">
          <ac:chgData name="Oscar Silva" userId="S::oscar.silva_hundred.com.pe#ext#@belcorpbiz.onmicrosoft.com::6509ea30-3ada-4454-82a9-ec2acf182713" providerId="AD" clId="Web-{93E028AB-A947-4BB5-A3F8-6F5FDA2FD5E9}" dt="2019-06-17T15:56:39.472" v="16"/>
          <ac:picMkLst>
            <pc:docMk/>
            <pc:sldMk cId="4227590305" sldId="404"/>
            <ac:picMk id="7" creationId="{EE09A529-E47C-4634-BB98-0A9526C372B4}"/>
          </ac:picMkLst>
        </pc:picChg>
      </pc:sldChg>
    </pc:docChg>
  </pc:docChgLst>
  <pc:docChgLst>
    <pc:chgData name="Eder Oscar Lazaro Rodriguez" userId="S::elazaro@belcorp.biz::de686be7-b5fb-44ff-ba7e-2dbd6e742f03" providerId="AD" clId="Web-{9131B5F2-A152-48C8-AB55-9F915B2BAA73}"/>
    <pc:docChg chg="modSld">
      <pc:chgData name="Eder Oscar Lazaro Rodriguez" userId="S::elazaro@belcorp.biz::de686be7-b5fb-44ff-ba7e-2dbd6e742f03" providerId="AD" clId="Web-{9131B5F2-A152-48C8-AB55-9F915B2BAA73}" dt="2019-06-18T01:16:26.933" v="10" actId="20577"/>
      <pc:docMkLst>
        <pc:docMk/>
      </pc:docMkLst>
      <pc:sldChg chg="modSp">
        <pc:chgData name="Eder Oscar Lazaro Rodriguez" userId="S::elazaro@belcorp.biz::de686be7-b5fb-44ff-ba7e-2dbd6e742f03" providerId="AD" clId="Web-{9131B5F2-A152-48C8-AB55-9F915B2BAA73}" dt="2019-06-18T01:16:12.166" v="4" actId="20577"/>
        <pc:sldMkLst>
          <pc:docMk/>
          <pc:sldMk cId="2220492490" sldId="380"/>
        </pc:sldMkLst>
        <pc:spChg chg="mod">
          <ac:chgData name="Eder Oscar Lazaro Rodriguez" userId="S::elazaro@belcorp.biz::de686be7-b5fb-44ff-ba7e-2dbd6e742f03" providerId="AD" clId="Web-{9131B5F2-A152-48C8-AB55-9F915B2BAA73}" dt="2019-06-18T01:16:12.166" v="4" actId="20577"/>
          <ac:spMkLst>
            <pc:docMk/>
            <pc:sldMk cId="2220492490" sldId="380"/>
            <ac:spMk id="220" creationId="{00000000-0000-0000-0000-000000000000}"/>
          </ac:spMkLst>
        </pc:spChg>
      </pc:sldChg>
      <pc:sldChg chg="modSp">
        <pc:chgData name="Eder Oscar Lazaro Rodriguez" userId="S::elazaro@belcorp.biz::de686be7-b5fb-44ff-ba7e-2dbd6e742f03" providerId="AD" clId="Web-{9131B5F2-A152-48C8-AB55-9F915B2BAA73}" dt="2019-06-18T01:16:26.933" v="10" actId="20577"/>
        <pc:sldMkLst>
          <pc:docMk/>
          <pc:sldMk cId="1609685272" sldId="402"/>
        </pc:sldMkLst>
        <pc:spChg chg="mod">
          <ac:chgData name="Eder Oscar Lazaro Rodriguez" userId="S::elazaro@belcorp.biz::de686be7-b5fb-44ff-ba7e-2dbd6e742f03" providerId="AD" clId="Web-{9131B5F2-A152-48C8-AB55-9F915B2BAA73}" dt="2019-06-18T01:16:26.933" v="10" actId="20577"/>
          <ac:spMkLst>
            <pc:docMk/>
            <pc:sldMk cId="1609685272" sldId="402"/>
            <ac:spMk id="12" creationId="{B160B663-D424-E449-AB29-AA980CD0E375}"/>
          </ac:spMkLst>
        </pc:spChg>
      </pc:sldChg>
    </pc:docChg>
  </pc:docChgLst>
  <pc:docChgLst>
    <pc:chgData name="Eder Oscar Lazaro Rodriguez" userId="S::elazaro@belcorp.biz::de686be7-b5fb-44ff-ba7e-2dbd6e742f03" providerId="AD" clId="Web-{BBF8D338-8B74-4CF1-A516-ED779F9345B6}"/>
    <pc:docChg chg="modSld sldOrd">
      <pc:chgData name="Eder Oscar Lazaro Rodriguez" userId="S::elazaro@belcorp.biz::de686be7-b5fb-44ff-ba7e-2dbd6e742f03" providerId="AD" clId="Web-{BBF8D338-8B74-4CF1-A516-ED779F9345B6}" dt="2019-06-18T14:04:40.463" v="10" actId="20577"/>
      <pc:docMkLst>
        <pc:docMk/>
      </pc:docMkLst>
      <pc:sldChg chg="modSp">
        <pc:chgData name="Eder Oscar Lazaro Rodriguez" userId="S::elazaro@belcorp.biz::de686be7-b5fb-44ff-ba7e-2dbd6e742f03" providerId="AD" clId="Web-{BBF8D338-8B74-4CF1-A516-ED779F9345B6}" dt="2019-06-18T14:04:40.463" v="10" actId="20577"/>
        <pc:sldMkLst>
          <pc:docMk/>
          <pc:sldMk cId="1609685272" sldId="402"/>
        </pc:sldMkLst>
        <pc:spChg chg="mod">
          <ac:chgData name="Eder Oscar Lazaro Rodriguez" userId="S::elazaro@belcorp.biz::de686be7-b5fb-44ff-ba7e-2dbd6e742f03" providerId="AD" clId="Web-{BBF8D338-8B74-4CF1-A516-ED779F9345B6}" dt="2019-06-18T14:04:40.463" v="10" actId="20577"/>
          <ac:spMkLst>
            <pc:docMk/>
            <pc:sldMk cId="1609685272" sldId="402"/>
            <ac:spMk id="12" creationId="{B160B663-D424-E449-AB29-AA980CD0E375}"/>
          </ac:spMkLst>
        </pc:spChg>
      </pc:sldChg>
      <pc:sldChg chg="ord">
        <pc:chgData name="Eder Oscar Lazaro Rodriguez" userId="S::elazaro@belcorp.biz::de686be7-b5fb-44ff-ba7e-2dbd6e742f03" providerId="AD" clId="Web-{BBF8D338-8B74-4CF1-A516-ED779F9345B6}" dt="2019-06-18T14:02:10.975" v="4"/>
        <pc:sldMkLst>
          <pc:docMk/>
          <pc:sldMk cId="904419021" sldId="406"/>
        </pc:sldMkLst>
      </pc:sldChg>
      <pc:sldChg chg="ord">
        <pc:chgData name="Eder Oscar Lazaro Rodriguez" userId="S::elazaro@belcorp.biz::de686be7-b5fb-44ff-ba7e-2dbd6e742f03" providerId="AD" clId="Web-{BBF8D338-8B74-4CF1-A516-ED779F9345B6}" dt="2019-06-18T14:02:19.006" v="5"/>
        <pc:sldMkLst>
          <pc:docMk/>
          <pc:sldMk cId="3119690456" sldId="412"/>
        </pc:sldMkLst>
      </pc:sldChg>
      <pc:sldChg chg="ord">
        <pc:chgData name="Eder Oscar Lazaro Rodriguez" userId="S::elazaro@belcorp.biz::de686be7-b5fb-44ff-ba7e-2dbd6e742f03" providerId="AD" clId="Web-{BBF8D338-8B74-4CF1-A516-ED779F9345B6}" dt="2019-06-18T14:02:10.975" v="1"/>
        <pc:sldMkLst>
          <pc:docMk/>
          <pc:sldMk cId="2202346401" sldId="415"/>
        </pc:sldMkLst>
      </pc:sldChg>
      <pc:sldChg chg="ord">
        <pc:chgData name="Eder Oscar Lazaro Rodriguez" userId="S::elazaro@belcorp.biz::de686be7-b5fb-44ff-ba7e-2dbd6e742f03" providerId="AD" clId="Web-{BBF8D338-8B74-4CF1-A516-ED779F9345B6}" dt="2019-06-18T14:02:10.975" v="0"/>
        <pc:sldMkLst>
          <pc:docMk/>
          <pc:sldMk cId="798763300" sldId="422"/>
        </pc:sldMkLst>
      </pc:sldChg>
      <pc:sldChg chg="ord">
        <pc:chgData name="Eder Oscar Lazaro Rodriguez" userId="S::elazaro@belcorp.biz::de686be7-b5fb-44ff-ba7e-2dbd6e742f03" providerId="AD" clId="Web-{BBF8D338-8B74-4CF1-A516-ED779F9345B6}" dt="2019-06-18T14:02:10.975" v="3"/>
        <pc:sldMkLst>
          <pc:docMk/>
          <pc:sldMk cId="442502169" sldId="424"/>
        </pc:sldMkLst>
      </pc:sldChg>
      <pc:sldChg chg="ord">
        <pc:chgData name="Eder Oscar Lazaro Rodriguez" userId="S::elazaro@belcorp.biz::de686be7-b5fb-44ff-ba7e-2dbd6e742f03" providerId="AD" clId="Web-{BBF8D338-8B74-4CF1-A516-ED779F9345B6}" dt="2019-06-18T14:02:10.975" v="2"/>
        <pc:sldMkLst>
          <pc:docMk/>
          <pc:sldMk cId="2894021050" sldId="437"/>
        </pc:sldMkLst>
      </pc:sldChg>
    </pc:docChg>
  </pc:docChgLst>
  <pc:docChgLst>
    <pc:chgData name="Omar Rojas" userId="S::omar.rojas_hundred.com.pe#ext#@belcorpbiz.onmicrosoft.com::c3ef5a6a-094a-4eb5-b410-1ef7bc9be540" providerId="AD" clId="Web-{E8C62800-1F00-4BE8-839B-0B095EE14611}"/>
    <pc:docChg chg="addSld modSld">
      <pc:chgData name="Omar Rojas" userId="S::omar.rojas_hundred.com.pe#ext#@belcorpbiz.onmicrosoft.com::c3ef5a6a-094a-4eb5-b410-1ef7bc9be540" providerId="AD" clId="Web-{E8C62800-1F00-4BE8-839B-0B095EE14611}" dt="2019-06-17T17:31:56.236" v="2801"/>
      <pc:docMkLst>
        <pc:docMk/>
      </pc:docMkLst>
      <pc:sldChg chg="addSp delSp modSp">
        <pc:chgData name="Omar Rojas" userId="S::omar.rojas_hundred.com.pe#ext#@belcorpbiz.onmicrosoft.com::c3ef5a6a-094a-4eb5-b410-1ef7bc9be540" providerId="AD" clId="Web-{E8C62800-1F00-4BE8-839B-0B095EE14611}" dt="2019-06-17T17:27:23.746" v="2648" actId="20577"/>
        <pc:sldMkLst>
          <pc:docMk/>
          <pc:sldMk cId="549874837" sldId="407"/>
        </pc:sldMkLst>
        <pc:spChg chg="add mod">
          <ac:chgData name="Omar Rojas" userId="S::omar.rojas_hundred.com.pe#ext#@belcorpbiz.onmicrosoft.com::c3ef5a6a-094a-4eb5-b410-1ef7bc9be540" providerId="AD" clId="Web-{E8C62800-1F00-4BE8-839B-0B095EE14611}" dt="2019-06-17T16:22:09.812" v="101" actId="1076"/>
          <ac:spMkLst>
            <pc:docMk/>
            <pc:sldMk cId="549874837" sldId="407"/>
            <ac:spMk id="3" creationId="{AA011A3A-560B-4AB3-A776-D91AA6A8C46F}"/>
          </ac:spMkLst>
        </pc:spChg>
        <pc:spChg chg="add mod">
          <ac:chgData name="Omar Rojas" userId="S::omar.rojas_hundred.com.pe#ext#@belcorpbiz.onmicrosoft.com::c3ef5a6a-094a-4eb5-b410-1ef7bc9be540" providerId="AD" clId="Web-{E8C62800-1F00-4BE8-839B-0B095EE14611}" dt="2019-06-17T16:22:29.499" v="105" actId="1076"/>
          <ac:spMkLst>
            <pc:docMk/>
            <pc:sldMk cId="549874837" sldId="407"/>
            <ac:spMk id="7" creationId="{501B8B08-DAA7-4054-B5D4-88F7FD6A99DF}"/>
          </ac:spMkLst>
        </pc:spChg>
        <pc:spChg chg="add mod">
          <ac:chgData name="Omar Rojas" userId="S::omar.rojas_hundred.com.pe#ext#@belcorpbiz.onmicrosoft.com::c3ef5a6a-094a-4eb5-b410-1ef7bc9be540" providerId="AD" clId="Web-{E8C62800-1F00-4BE8-839B-0B095EE14611}" dt="2019-06-17T16:42:01.028" v="364" actId="1076"/>
          <ac:spMkLst>
            <pc:docMk/>
            <pc:sldMk cId="549874837" sldId="407"/>
            <ac:spMk id="8" creationId="{9E1CB566-BFF2-48AF-8FA7-7D4C3CED9ED7}"/>
          </ac:spMkLst>
        </pc:spChg>
        <pc:spChg chg="add mod">
          <ac:chgData name="Omar Rojas" userId="S::omar.rojas_hundred.com.pe#ext#@belcorpbiz.onmicrosoft.com::c3ef5a6a-094a-4eb5-b410-1ef7bc9be540" providerId="AD" clId="Web-{E8C62800-1F00-4BE8-839B-0B095EE14611}" dt="2019-06-17T16:30:48.771" v="180" actId="1076"/>
          <ac:spMkLst>
            <pc:docMk/>
            <pc:sldMk cId="549874837" sldId="407"/>
            <ac:spMk id="10" creationId="{03FF6A00-95FB-4A1A-886F-2BD101ED4DD6}"/>
          </ac:spMkLst>
        </pc:spChg>
        <pc:spChg chg="add mod">
          <ac:chgData name="Omar Rojas" userId="S::omar.rojas_hundred.com.pe#ext#@belcorpbiz.onmicrosoft.com::c3ef5a6a-094a-4eb5-b410-1ef7bc9be540" providerId="AD" clId="Web-{E8C62800-1F00-4BE8-839B-0B095EE14611}" dt="2019-06-17T16:31:04.349" v="183" actId="14100"/>
          <ac:spMkLst>
            <pc:docMk/>
            <pc:sldMk cId="549874837" sldId="407"/>
            <ac:spMk id="11" creationId="{4EA9BE61-3B5C-4A9C-8544-A6F8A6D4D29A}"/>
          </ac:spMkLst>
        </pc:spChg>
        <pc:spChg chg="mod">
          <ac:chgData name="Omar Rojas" userId="S::omar.rojas_hundred.com.pe#ext#@belcorpbiz.onmicrosoft.com::c3ef5a6a-094a-4eb5-b410-1ef7bc9be540" providerId="AD" clId="Web-{E8C62800-1F00-4BE8-839B-0B095EE14611}" dt="2019-06-17T17:27:23.746" v="2648" actId="20577"/>
          <ac:spMkLst>
            <pc:docMk/>
            <pc:sldMk cId="549874837" sldId="407"/>
            <ac:spMk id="19" creationId="{B99CFB41-5272-E441-B74F-EF8325FF79C8}"/>
          </ac:spMkLst>
        </pc:spChg>
        <pc:picChg chg="del">
          <ac:chgData name="Omar Rojas" userId="S::omar.rojas_hundred.com.pe#ext#@belcorpbiz.onmicrosoft.com::c3ef5a6a-094a-4eb5-b410-1ef7bc9be540" providerId="AD" clId="Web-{E8C62800-1F00-4BE8-839B-0B095EE14611}" dt="2019-06-17T16:13:15.431" v="0"/>
          <ac:picMkLst>
            <pc:docMk/>
            <pc:sldMk cId="549874837" sldId="407"/>
            <ac:picMk id="2" creationId="{F5F1BB1B-1844-3E4C-BB8A-4B318A6E1D99}"/>
          </ac:picMkLst>
        </pc:picChg>
        <pc:cxnChg chg="add mod">
          <ac:chgData name="Omar Rojas" userId="S::omar.rojas_hundred.com.pe#ext#@belcorpbiz.onmicrosoft.com::c3ef5a6a-094a-4eb5-b410-1ef7bc9be540" providerId="AD" clId="Web-{E8C62800-1F00-4BE8-839B-0B095EE14611}" dt="2019-06-17T16:25:23.798" v="134" actId="14100"/>
          <ac:cxnSpMkLst>
            <pc:docMk/>
            <pc:sldMk cId="549874837" sldId="407"/>
            <ac:cxnSpMk id="4" creationId="{31759264-7F59-4D70-8FC6-2FB114249C5A}"/>
          </ac:cxnSpMkLst>
        </pc:cxnChg>
      </pc:sldChg>
      <pc:sldChg chg="delSp modSp add replId">
        <pc:chgData name="Omar Rojas" userId="S::omar.rojas_hundred.com.pe#ext#@belcorpbiz.onmicrosoft.com::c3ef5a6a-094a-4eb5-b410-1ef7bc9be540" providerId="AD" clId="Web-{E8C62800-1F00-4BE8-839B-0B095EE14611}" dt="2019-06-17T16:47:16.423" v="437" actId="20577"/>
        <pc:sldMkLst>
          <pc:docMk/>
          <pc:sldMk cId="2944831833" sldId="410"/>
        </pc:sldMkLst>
        <pc:spChg chg="mod">
          <ac:chgData name="Omar Rojas" userId="S::omar.rojas_hundred.com.pe#ext#@belcorpbiz.onmicrosoft.com::c3ef5a6a-094a-4eb5-b410-1ef7bc9be540" providerId="AD" clId="Web-{E8C62800-1F00-4BE8-839B-0B095EE14611}" dt="2019-06-17T16:36:26.728" v="283" actId="14100"/>
          <ac:spMkLst>
            <pc:docMk/>
            <pc:sldMk cId="2944831833" sldId="410"/>
            <ac:spMk id="3" creationId="{AA011A3A-560B-4AB3-A776-D91AA6A8C46F}"/>
          </ac:spMkLst>
        </pc:spChg>
        <pc:spChg chg="mod">
          <ac:chgData name="Omar Rojas" userId="S::omar.rojas_hundred.com.pe#ext#@belcorpbiz.onmicrosoft.com::c3ef5a6a-094a-4eb5-b410-1ef7bc9be540" providerId="AD" clId="Web-{E8C62800-1F00-4BE8-839B-0B095EE14611}" dt="2019-06-17T16:39:15.370" v="299" actId="1076"/>
          <ac:spMkLst>
            <pc:docMk/>
            <pc:sldMk cId="2944831833" sldId="410"/>
            <ac:spMk id="7" creationId="{501B8B08-DAA7-4054-B5D4-88F7FD6A99DF}"/>
          </ac:spMkLst>
        </pc:spChg>
        <pc:spChg chg="mod">
          <ac:chgData name="Omar Rojas" userId="S::omar.rojas_hundred.com.pe#ext#@belcorpbiz.onmicrosoft.com::c3ef5a6a-094a-4eb5-b410-1ef7bc9be540" providerId="AD" clId="Web-{E8C62800-1F00-4BE8-839B-0B095EE14611}" dt="2019-06-17T16:47:16.423" v="437" actId="20577"/>
          <ac:spMkLst>
            <pc:docMk/>
            <pc:sldMk cId="2944831833" sldId="410"/>
            <ac:spMk id="8" creationId="{9E1CB566-BFF2-48AF-8FA7-7D4C3CED9ED7}"/>
          </ac:spMkLst>
        </pc:spChg>
        <pc:spChg chg="del">
          <ac:chgData name="Omar Rojas" userId="S::omar.rojas_hundred.com.pe#ext#@belcorpbiz.onmicrosoft.com::c3ef5a6a-094a-4eb5-b410-1ef7bc9be540" providerId="AD" clId="Web-{E8C62800-1F00-4BE8-839B-0B095EE14611}" dt="2019-06-17T16:45:44.109" v="380"/>
          <ac:spMkLst>
            <pc:docMk/>
            <pc:sldMk cId="2944831833" sldId="410"/>
            <ac:spMk id="10" creationId="{03FF6A00-95FB-4A1A-886F-2BD101ED4DD6}"/>
          </ac:spMkLst>
        </pc:spChg>
        <pc:spChg chg="del">
          <ac:chgData name="Omar Rojas" userId="S::omar.rojas_hundred.com.pe#ext#@belcorpbiz.onmicrosoft.com::c3ef5a6a-094a-4eb5-b410-1ef7bc9be540" providerId="AD" clId="Web-{E8C62800-1F00-4BE8-839B-0B095EE14611}" dt="2019-06-17T16:45:42.828" v="379"/>
          <ac:spMkLst>
            <pc:docMk/>
            <pc:sldMk cId="2944831833" sldId="410"/>
            <ac:spMk id="11" creationId="{4EA9BE61-3B5C-4A9C-8544-A6F8A6D4D29A}"/>
          </ac:spMkLst>
        </pc:spChg>
        <pc:spChg chg="mod">
          <ac:chgData name="Omar Rojas" userId="S::omar.rojas_hundred.com.pe#ext#@belcorpbiz.onmicrosoft.com::c3ef5a6a-094a-4eb5-b410-1ef7bc9be540" providerId="AD" clId="Web-{E8C62800-1F00-4BE8-839B-0B095EE14611}" dt="2019-06-17T16:40:03.636" v="317" actId="20577"/>
          <ac:spMkLst>
            <pc:docMk/>
            <pc:sldMk cId="2944831833" sldId="410"/>
            <ac:spMk id="19" creationId="{B99CFB41-5272-E441-B74F-EF8325FF79C8}"/>
          </ac:spMkLst>
        </pc:spChg>
      </pc:sldChg>
      <pc:sldChg chg="new">
        <pc:chgData name="Omar Rojas" userId="S::omar.rojas_hundred.com.pe#ext#@belcorpbiz.onmicrosoft.com::c3ef5a6a-094a-4eb5-b410-1ef7bc9be540" providerId="AD" clId="Web-{E8C62800-1F00-4BE8-839B-0B095EE14611}" dt="2019-06-17T16:47:29.970" v="438"/>
        <pc:sldMkLst>
          <pc:docMk/>
          <pc:sldMk cId="612733769" sldId="414"/>
        </pc:sldMkLst>
      </pc:sldChg>
      <pc:sldChg chg="addSp delSp modSp add replId">
        <pc:chgData name="Omar Rojas" userId="S::omar.rojas_hundred.com.pe#ext#@belcorpbiz.onmicrosoft.com::c3ef5a6a-094a-4eb5-b410-1ef7bc9be540" providerId="AD" clId="Web-{E8C62800-1F00-4BE8-839B-0B095EE14611}" dt="2019-06-17T17:12:22.893" v="1534"/>
        <pc:sldMkLst>
          <pc:docMk/>
          <pc:sldMk cId="2202346401" sldId="415"/>
        </pc:sldMkLst>
        <pc:spChg chg="del">
          <ac:chgData name="Omar Rojas" userId="S::omar.rojas_hundred.com.pe#ext#@belcorpbiz.onmicrosoft.com::c3ef5a6a-094a-4eb5-b410-1ef7bc9be540" providerId="AD" clId="Web-{E8C62800-1F00-4BE8-839B-0B095EE14611}" dt="2019-06-17T16:50:57.675" v="446"/>
          <ac:spMkLst>
            <pc:docMk/>
            <pc:sldMk cId="2202346401" sldId="415"/>
            <ac:spMk id="3" creationId="{AA011A3A-560B-4AB3-A776-D91AA6A8C46F}"/>
          </ac:spMkLst>
        </pc:spChg>
        <pc:spChg chg="del">
          <ac:chgData name="Omar Rojas" userId="S::omar.rojas_hundred.com.pe#ext#@belcorpbiz.onmicrosoft.com::c3ef5a6a-094a-4eb5-b410-1ef7bc9be540" providerId="AD" clId="Web-{E8C62800-1F00-4BE8-839B-0B095EE14611}" dt="2019-06-17T16:50:56.646" v="445"/>
          <ac:spMkLst>
            <pc:docMk/>
            <pc:sldMk cId="2202346401" sldId="415"/>
            <ac:spMk id="7" creationId="{501B8B08-DAA7-4054-B5D4-88F7FD6A99DF}"/>
          </ac:spMkLst>
        </pc:spChg>
        <pc:spChg chg="del mod">
          <ac:chgData name="Omar Rojas" userId="S::omar.rojas_hundred.com.pe#ext#@belcorpbiz.onmicrosoft.com::c3ef5a6a-094a-4eb5-b410-1ef7bc9be540" providerId="AD" clId="Web-{E8C62800-1F00-4BE8-839B-0B095EE14611}" dt="2019-06-17T16:50:47.487" v="442"/>
          <ac:spMkLst>
            <pc:docMk/>
            <pc:sldMk cId="2202346401" sldId="415"/>
            <ac:spMk id="8" creationId="{9E1CB566-BFF2-48AF-8FA7-7D4C3CED9ED7}"/>
          </ac:spMkLst>
        </pc:spChg>
        <pc:spChg chg="del mod">
          <ac:chgData name="Omar Rojas" userId="S::omar.rojas_hundred.com.pe#ext#@belcorpbiz.onmicrosoft.com::c3ef5a6a-094a-4eb5-b410-1ef7bc9be540" providerId="AD" clId="Web-{E8C62800-1F00-4BE8-839B-0B095EE14611}" dt="2019-06-17T16:58:49.305" v="465"/>
          <ac:spMkLst>
            <pc:docMk/>
            <pc:sldMk cId="2202346401" sldId="415"/>
            <ac:spMk id="19" creationId="{B99CFB41-5272-E441-B74F-EF8325FF79C8}"/>
          </ac:spMkLst>
        </pc:spChg>
        <pc:spChg chg="mod">
          <ac:chgData name="Omar Rojas" userId="S::omar.rojas_hundred.com.pe#ext#@belcorpbiz.onmicrosoft.com::c3ef5a6a-094a-4eb5-b410-1ef7bc9be540" providerId="AD" clId="Web-{E8C62800-1F00-4BE8-839B-0B095EE14611}" dt="2019-06-17T16:59:51.103" v="522" actId="20577"/>
          <ac:spMkLst>
            <pc:docMk/>
            <pc:sldMk cId="2202346401" sldId="415"/>
            <ac:spMk id="220" creationId="{00000000-0000-0000-0000-000000000000}"/>
          </ac:spMkLst>
        </pc:spChg>
        <pc:graphicFrameChg chg="add mod modGraphic">
          <ac:chgData name="Omar Rojas" userId="S::omar.rojas_hundred.com.pe#ext#@belcorpbiz.onmicrosoft.com::c3ef5a6a-094a-4eb5-b410-1ef7bc9be540" providerId="AD" clId="Web-{E8C62800-1F00-4BE8-839B-0B095EE14611}" dt="2019-06-17T17:12:22.893" v="1534"/>
          <ac:graphicFrameMkLst>
            <pc:docMk/>
            <pc:sldMk cId="2202346401" sldId="415"/>
            <ac:graphicFrameMk id="11" creationId="{87CEF300-7200-49F1-AFAB-5CA57E3F38F2}"/>
          </ac:graphicFrameMkLst>
        </pc:graphicFrameChg>
        <pc:picChg chg="add del mod">
          <ac:chgData name="Omar Rojas" userId="S::omar.rojas_hundred.com.pe#ext#@belcorpbiz.onmicrosoft.com::c3ef5a6a-094a-4eb5-b410-1ef7bc9be540" providerId="AD" clId="Web-{E8C62800-1F00-4BE8-839B-0B095EE14611}" dt="2019-06-17T16:57:57.570" v="455"/>
          <ac:picMkLst>
            <pc:docMk/>
            <pc:sldMk cId="2202346401" sldId="415"/>
            <ac:picMk id="2" creationId="{78A440AB-4923-46EA-B8B8-BEE673539C2A}"/>
          </ac:picMkLst>
        </pc:picChg>
        <pc:picChg chg="add mod modCrop">
          <ac:chgData name="Omar Rojas" userId="S::omar.rojas_hundred.com.pe#ext#@belcorpbiz.onmicrosoft.com::c3ef5a6a-094a-4eb5-b410-1ef7bc9be540" providerId="AD" clId="Web-{E8C62800-1F00-4BE8-839B-0B095EE14611}" dt="2019-06-17T16:58:30.415" v="461" actId="1076"/>
          <ac:picMkLst>
            <pc:docMk/>
            <pc:sldMk cId="2202346401" sldId="415"/>
            <ac:picMk id="6" creationId="{D87A1F7C-0150-405F-9E55-BA978F7CC15B}"/>
          </ac:picMkLst>
        </pc:picChg>
        <pc:cxnChg chg="del">
          <ac:chgData name="Omar Rojas" userId="S::omar.rojas_hundred.com.pe#ext#@belcorpbiz.onmicrosoft.com::c3ef5a6a-094a-4eb5-b410-1ef7bc9be540" providerId="AD" clId="Web-{E8C62800-1F00-4BE8-839B-0B095EE14611}" dt="2019-06-17T16:50:51.003" v="443"/>
          <ac:cxnSpMkLst>
            <pc:docMk/>
            <pc:sldMk cId="2202346401" sldId="415"/>
            <ac:cxnSpMk id="4" creationId="{31759264-7F59-4D70-8FC6-2FB114249C5A}"/>
          </ac:cxnSpMkLst>
        </pc:cxnChg>
      </pc:sldChg>
      <pc:sldChg chg="addSp delSp modSp add replId">
        <pc:chgData name="Omar Rojas" userId="S::omar.rojas_hundred.com.pe#ext#@belcorpbiz.onmicrosoft.com::c3ef5a6a-094a-4eb5-b410-1ef7bc9be540" providerId="AD" clId="Web-{E8C62800-1F00-4BE8-839B-0B095EE14611}" dt="2019-06-17T17:21:34.039" v="2302"/>
        <pc:sldMkLst>
          <pc:docMk/>
          <pc:sldMk cId="3366836123" sldId="419"/>
        </pc:sldMkLst>
        <pc:graphicFrameChg chg="mod modGraphic">
          <ac:chgData name="Omar Rojas" userId="S::omar.rojas_hundred.com.pe#ext#@belcorpbiz.onmicrosoft.com::c3ef5a6a-094a-4eb5-b410-1ef7bc9be540" providerId="AD" clId="Web-{E8C62800-1F00-4BE8-839B-0B095EE14611}" dt="2019-06-17T17:21:34.039" v="2302"/>
          <ac:graphicFrameMkLst>
            <pc:docMk/>
            <pc:sldMk cId="3366836123" sldId="419"/>
            <ac:graphicFrameMk id="11" creationId="{87CEF300-7200-49F1-AFAB-5CA57E3F38F2}"/>
          </ac:graphicFrameMkLst>
        </pc:graphicFrameChg>
        <pc:picChg chg="add mod">
          <ac:chgData name="Omar Rojas" userId="S::omar.rojas_hundred.com.pe#ext#@belcorpbiz.onmicrosoft.com::c3ef5a6a-094a-4eb5-b410-1ef7bc9be540" providerId="AD" clId="Web-{E8C62800-1F00-4BE8-839B-0B095EE14611}" dt="2019-06-17T17:14:21.706" v="1636" actId="1076"/>
          <ac:picMkLst>
            <pc:docMk/>
            <pc:sldMk cId="3366836123" sldId="419"/>
            <ac:picMk id="2" creationId="{B4D3EFED-D371-4D51-AA87-96B84B873BA1}"/>
          </ac:picMkLst>
        </pc:picChg>
        <pc:picChg chg="del">
          <ac:chgData name="Omar Rojas" userId="S::omar.rojas_hundred.com.pe#ext#@belcorpbiz.onmicrosoft.com::c3ef5a6a-094a-4eb5-b410-1ef7bc9be540" providerId="AD" clId="Web-{E8C62800-1F00-4BE8-839B-0B095EE14611}" dt="2019-06-17T17:12:58.596" v="1536"/>
          <ac:picMkLst>
            <pc:docMk/>
            <pc:sldMk cId="3366836123" sldId="419"/>
            <ac:picMk id="6" creationId="{D87A1F7C-0150-405F-9E55-BA978F7CC15B}"/>
          </ac:picMkLst>
        </pc:picChg>
      </pc:sldChg>
      <pc:sldChg chg="addSp delSp modSp add replId">
        <pc:chgData name="Omar Rojas" userId="S::omar.rojas_hundred.com.pe#ext#@belcorpbiz.onmicrosoft.com::c3ef5a6a-094a-4eb5-b410-1ef7bc9be540" providerId="AD" clId="Web-{E8C62800-1F00-4BE8-839B-0B095EE14611}" dt="2019-06-17T17:31:56.236" v="2801"/>
        <pc:sldMkLst>
          <pc:docMk/>
          <pc:sldMk cId="798763300" sldId="422"/>
        </pc:sldMkLst>
        <pc:spChg chg="add mod">
          <ac:chgData name="Omar Rojas" userId="S::omar.rojas_hundred.com.pe#ext#@belcorpbiz.onmicrosoft.com::c3ef5a6a-094a-4eb5-b410-1ef7bc9be540" providerId="AD" clId="Web-{E8C62800-1F00-4BE8-839B-0B095EE14611}" dt="2019-06-17T17:28:58.466" v="2706" actId="14100"/>
          <ac:spMkLst>
            <pc:docMk/>
            <pc:sldMk cId="798763300" sldId="422"/>
            <ac:spMk id="5" creationId="{9DBE9DF1-BF0A-4655-9638-0A8B5FD6120B}"/>
          </ac:spMkLst>
        </pc:spChg>
        <pc:spChg chg="mod">
          <ac:chgData name="Omar Rojas" userId="S::omar.rojas_hundred.com.pe#ext#@belcorpbiz.onmicrosoft.com::c3ef5a6a-094a-4eb5-b410-1ef7bc9be540" providerId="AD" clId="Web-{E8C62800-1F00-4BE8-839B-0B095EE14611}" dt="2019-06-17T17:22:27.399" v="2320" actId="20577"/>
          <ac:spMkLst>
            <pc:docMk/>
            <pc:sldMk cId="798763300" sldId="422"/>
            <ac:spMk id="220" creationId="{00000000-0000-0000-0000-000000000000}"/>
          </ac:spMkLst>
        </pc:spChg>
        <pc:graphicFrameChg chg="mod modGraphic">
          <ac:chgData name="Omar Rojas" userId="S::omar.rojas_hundred.com.pe#ext#@belcorpbiz.onmicrosoft.com::c3ef5a6a-094a-4eb5-b410-1ef7bc9be540" providerId="AD" clId="Web-{E8C62800-1F00-4BE8-839B-0B095EE14611}" dt="2019-06-17T17:31:56.236" v="2801"/>
          <ac:graphicFrameMkLst>
            <pc:docMk/>
            <pc:sldMk cId="798763300" sldId="422"/>
            <ac:graphicFrameMk id="11" creationId="{87CEF300-7200-49F1-AFAB-5CA57E3F38F2}"/>
          </ac:graphicFrameMkLst>
        </pc:graphicFrameChg>
        <pc:picChg chg="del">
          <ac:chgData name="Omar Rojas" userId="S::omar.rojas_hundred.com.pe#ext#@belcorpbiz.onmicrosoft.com::c3ef5a6a-094a-4eb5-b410-1ef7bc9be540" providerId="AD" clId="Web-{E8C62800-1F00-4BE8-839B-0B095EE14611}" dt="2019-06-17T17:23:37.072" v="2321"/>
          <ac:picMkLst>
            <pc:docMk/>
            <pc:sldMk cId="798763300" sldId="422"/>
            <ac:picMk id="2" creationId="{B4D3EFED-D371-4D51-AA87-96B84B873BA1}"/>
          </ac:picMkLst>
        </pc:picChg>
        <pc:picChg chg="add del mod">
          <ac:chgData name="Omar Rojas" userId="S::omar.rojas_hundred.com.pe#ext#@belcorpbiz.onmicrosoft.com::c3ef5a6a-094a-4eb5-b410-1ef7bc9be540" providerId="AD" clId="Web-{E8C62800-1F00-4BE8-839B-0B095EE14611}" dt="2019-06-17T17:30:14.686" v="2740"/>
          <ac:picMkLst>
            <pc:docMk/>
            <pc:sldMk cId="798763300" sldId="422"/>
            <ac:picMk id="3" creationId="{54120C53-69BC-486C-B0C1-4D5CE8F3CF0B}"/>
          </ac:picMkLst>
        </pc:picChg>
        <pc:picChg chg="add mod">
          <ac:chgData name="Omar Rojas" userId="S::omar.rojas_hundred.com.pe#ext#@belcorpbiz.onmicrosoft.com::c3ef5a6a-094a-4eb5-b410-1ef7bc9be540" providerId="AD" clId="Web-{E8C62800-1F00-4BE8-839B-0B095EE14611}" dt="2019-06-17T17:30:22.498" v="2743" actId="14100"/>
          <ac:picMkLst>
            <pc:docMk/>
            <pc:sldMk cId="798763300" sldId="422"/>
            <ac:picMk id="6" creationId="{F8B526E7-EC7D-4A05-88CF-1CFBBEEC66F4}"/>
          </ac:picMkLst>
        </pc:picChg>
      </pc:sldChg>
    </pc:docChg>
  </pc:docChgLst>
  <pc:docChgLst>
    <pc:chgData name="Oscar Silva" userId="S::oscar.silva_hundred.com.pe#ext#@belcorpbiz.onmicrosoft.com::6509ea30-3ada-4454-82a9-ec2acf182713" providerId="AD" clId="Web-{E7961986-0BD6-458D-9B2F-3D8640103137}"/>
    <pc:docChg chg="addSld delSld modSld">
      <pc:chgData name="Oscar Silva" userId="S::oscar.silva_hundred.com.pe#ext#@belcorpbiz.onmicrosoft.com::6509ea30-3ada-4454-82a9-ec2acf182713" providerId="AD" clId="Web-{E7961986-0BD6-458D-9B2F-3D8640103137}" dt="2019-06-17T21:32:36.877" v="1999" actId="1076"/>
      <pc:docMkLst>
        <pc:docMk/>
      </pc:docMkLst>
      <pc:sldChg chg="addSp delSp modSp">
        <pc:chgData name="Oscar Silva" userId="S::oscar.silva_hundred.com.pe#ext#@belcorpbiz.onmicrosoft.com::6509ea30-3ada-4454-82a9-ec2acf182713" providerId="AD" clId="Web-{E7961986-0BD6-458D-9B2F-3D8640103137}" dt="2019-06-17T16:33:34.260" v="30"/>
        <pc:sldMkLst>
          <pc:docMk/>
          <pc:sldMk cId="4227590305" sldId="404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6:31:19.321" v="7"/>
          <ac:spMkLst>
            <pc:docMk/>
            <pc:sldMk cId="4227590305" sldId="404"/>
            <ac:spMk id="2" creationId="{C2DF2AFA-C34C-4A8B-A775-9E1050F5D493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6:31:19.321" v="7"/>
          <ac:spMkLst>
            <pc:docMk/>
            <pc:sldMk cId="4227590305" sldId="404"/>
            <ac:spMk id="4" creationId="{98DB70BF-04FF-491C-BBF8-576221E97F3E}"/>
          </ac:spMkLst>
        </pc:spChg>
        <pc:spChg chg="del">
          <ac:chgData name="Oscar Silva" userId="S::oscar.silva_hundred.com.pe#ext#@belcorpbiz.onmicrosoft.com::6509ea30-3ada-4454-82a9-ec2acf182713" providerId="AD" clId="Web-{E7961986-0BD6-458D-9B2F-3D8640103137}" dt="2019-06-17T16:30:52.399" v="6"/>
          <ac:spMkLst>
            <pc:docMk/>
            <pc:sldMk cId="4227590305" sldId="404"/>
            <ac:spMk id="12" creationId="{569C1A01-6FB5-43CE-ADCC-936728ACAC0D}"/>
          </ac:spMkLst>
        </pc:spChg>
        <pc:spChg chg="add del">
          <ac:chgData name="Oscar Silva" userId="S::oscar.silva_hundred.com.pe#ext#@belcorpbiz.onmicrosoft.com::6509ea30-3ada-4454-82a9-ec2acf182713" providerId="AD" clId="Web-{E7961986-0BD6-458D-9B2F-3D8640103137}" dt="2019-06-17T16:31:19.321" v="7"/>
          <ac:spMkLst>
            <pc:docMk/>
            <pc:sldMk cId="4227590305" sldId="404"/>
            <ac:spMk id="17" creationId="{B0792D4F-247E-46FE-85FC-881DEFA41D94}"/>
          </ac:spMkLst>
        </pc:spChg>
        <pc:spChg chg="add">
          <ac:chgData name="Oscar Silva" userId="S::oscar.silva_hundred.com.pe#ext#@belcorpbiz.onmicrosoft.com::6509ea30-3ada-4454-82a9-ec2acf182713" providerId="AD" clId="Web-{E7961986-0BD6-458D-9B2F-3D8640103137}" dt="2019-06-17T16:31:19.321" v="7"/>
          <ac:spMkLst>
            <pc:docMk/>
            <pc:sldMk cId="4227590305" sldId="404"/>
            <ac:spMk id="24" creationId="{C607803A-4E99-444E-94F7-8785CDDF5849}"/>
          </ac:spMkLst>
        </pc:spChg>
        <pc:spChg chg="add">
          <ac:chgData name="Oscar Silva" userId="S::oscar.silva_hundred.com.pe#ext#@belcorpbiz.onmicrosoft.com::6509ea30-3ada-4454-82a9-ec2acf182713" providerId="AD" clId="Web-{E7961986-0BD6-458D-9B2F-3D8640103137}" dt="2019-06-17T16:31:19.321" v="7"/>
          <ac:spMkLst>
            <pc:docMk/>
            <pc:sldMk cId="4227590305" sldId="404"/>
            <ac:spMk id="26" creationId="{2989BE6A-C309-418E-8ADD-1616A980570D}"/>
          </ac:spMkLst>
        </pc:spChg>
        <pc:picChg chg="add del">
          <ac:chgData name="Oscar Silva" userId="S::oscar.silva_hundred.com.pe#ext#@belcorpbiz.onmicrosoft.com::6509ea30-3ada-4454-82a9-ec2acf182713" providerId="AD" clId="Web-{E7961986-0BD6-458D-9B2F-3D8640103137}" dt="2019-06-17T16:31:40.400" v="9"/>
          <ac:picMkLst>
            <pc:docMk/>
            <pc:sldMk cId="4227590305" sldId="404"/>
            <ac:picMk id="3" creationId="{A37A7C16-E5D2-4CDA-82F6-AFD2A086E4D0}"/>
          </ac:picMkLst>
        </pc:picChg>
        <pc:picChg chg="mod ord">
          <ac:chgData name="Oscar Silva" userId="S::oscar.silva_hundred.com.pe#ext#@belcorpbiz.onmicrosoft.com::6509ea30-3ada-4454-82a9-ec2acf182713" providerId="AD" clId="Web-{E7961986-0BD6-458D-9B2F-3D8640103137}" dt="2019-06-17T16:31:19.321" v="7"/>
          <ac:picMkLst>
            <pc:docMk/>
            <pc:sldMk cId="4227590305" sldId="404"/>
            <ac:picMk id="5" creationId="{391C7A1D-7393-4F19-86F5-D6F8F34D1CF2}"/>
          </ac:picMkLst>
        </pc:picChg>
        <pc:picChg chg="add del mod">
          <ac:chgData name="Oscar Silva" userId="S::oscar.silva_hundred.com.pe#ext#@belcorpbiz.onmicrosoft.com::6509ea30-3ada-4454-82a9-ec2acf182713" providerId="AD" clId="Web-{E7961986-0BD6-458D-9B2F-3D8640103137}" dt="2019-06-17T16:33:34.260" v="30"/>
          <ac:picMkLst>
            <pc:docMk/>
            <pc:sldMk cId="4227590305" sldId="404"/>
            <ac:picMk id="6" creationId="{94CD2C7C-2C28-409D-95AA-BCC35DACEC6D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6:30:52.399" v="6"/>
          <ac:picMkLst>
            <pc:docMk/>
            <pc:sldMk cId="4227590305" sldId="404"/>
            <ac:picMk id="7" creationId="{EE09A529-E47C-4634-BB98-0A9526C372B4}"/>
          </ac:picMkLst>
        </pc:picChg>
        <pc:cxnChg chg="add del">
          <ac:chgData name="Oscar Silva" userId="S::oscar.silva_hundred.com.pe#ext#@belcorpbiz.onmicrosoft.com::6509ea30-3ada-4454-82a9-ec2acf182713" providerId="AD" clId="Web-{E7961986-0BD6-458D-9B2F-3D8640103137}" dt="2019-06-17T16:31:19.321" v="7"/>
          <ac:cxnSpMkLst>
            <pc:docMk/>
            <pc:sldMk cId="4227590305" sldId="404"/>
            <ac:cxnSpMk id="19" creationId="{CE272F12-AF86-441A-BC1B-C014BBBF85B5}"/>
          </ac:cxnSpMkLst>
        </pc:cxnChg>
      </pc:sldChg>
      <pc:sldChg chg="addSp delSp modSp del mod setClrOvrMap">
        <pc:chgData name="Oscar Silva" userId="S::oscar.silva_hundred.com.pe#ext#@belcorpbiz.onmicrosoft.com::6509ea30-3ada-4454-82a9-ec2acf182713" providerId="AD" clId="Web-{E7961986-0BD6-458D-9B2F-3D8640103137}" dt="2019-06-17T16:34:32.464" v="80"/>
        <pc:sldMkLst>
          <pc:docMk/>
          <pc:sldMk cId="471922964" sldId="405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6:15:07.140" v="3"/>
          <ac:spMkLst>
            <pc:docMk/>
            <pc:sldMk cId="471922964" sldId="405"/>
            <ac:spMk id="2" creationId="{679BF575-1099-4196-B6CF-5799971B44E5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6:15:07.140" v="3"/>
          <ac:spMkLst>
            <pc:docMk/>
            <pc:sldMk cId="471922964" sldId="405"/>
            <ac:spMk id="4" creationId="{382CC38D-EA80-4A32-9C9F-A6FC1159C031}"/>
          </ac:spMkLst>
        </pc:spChg>
        <pc:spChg chg="del">
          <ac:chgData name="Oscar Silva" userId="S::oscar.silva_hundred.com.pe#ext#@belcorpbiz.onmicrosoft.com::6509ea30-3ada-4454-82a9-ec2acf182713" providerId="AD" clId="Web-{E7961986-0BD6-458D-9B2F-3D8640103137}" dt="2019-06-17T16:15:07.140" v="3"/>
          <ac:spMkLst>
            <pc:docMk/>
            <pc:sldMk cId="471922964" sldId="405"/>
            <ac:spMk id="12" creationId="{569C1A01-6FB5-43CE-ADCC-936728ACAC0D}"/>
          </ac:spMkLst>
        </pc:spChg>
        <pc:picChg chg="mod ord">
          <ac:chgData name="Oscar Silva" userId="S::oscar.silva_hundred.com.pe#ext#@belcorpbiz.onmicrosoft.com::6509ea30-3ada-4454-82a9-ec2acf182713" providerId="AD" clId="Web-{E7961986-0BD6-458D-9B2F-3D8640103137}" dt="2019-06-17T16:15:07.140" v="3"/>
          <ac:picMkLst>
            <pc:docMk/>
            <pc:sldMk cId="471922964" sldId="405"/>
            <ac:picMk id="5" creationId="{F62B80C8-B5AA-4F6E-B5B3-519095289B53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6:15:07.140" v="3"/>
          <ac:picMkLst>
            <pc:docMk/>
            <pc:sldMk cId="471922964" sldId="405"/>
            <ac:picMk id="10" creationId="{EE09A529-E47C-4634-BB98-0A9526C372B4}"/>
          </ac:picMkLst>
        </pc:picChg>
        <pc:cxnChg chg="add">
          <ac:chgData name="Oscar Silva" userId="S::oscar.silva_hundred.com.pe#ext#@belcorpbiz.onmicrosoft.com::6509ea30-3ada-4454-82a9-ec2acf182713" providerId="AD" clId="Web-{E7961986-0BD6-458D-9B2F-3D8640103137}" dt="2019-06-17T16:15:07.140" v="3"/>
          <ac:cxnSpMkLst>
            <pc:docMk/>
            <pc:sldMk cId="471922964" sldId="405"/>
            <ac:cxnSpMk id="17" creationId="{E126E481-B945-4179-BD79-05E96E9B29E1}"/>
          </ac:cxnSpMkLst>
        </pc:cxnChg>
      </pc:sldChg>
      <pc:sldChg chg="addSp delSp modSp del mod setBg">
        <pc:chgData name="Oscar Silva" userId="S::oscar.silva_hundred.com.pe#ext#@belcorpbiz.onmicrosoft.com::6509ea30-3ada-4454-82a9-ec2acf182713" providerId="AD" clId="Web-{E7961986-0BD6-458D-9B2F-3D8640103137}" dt="2019-06-17T16:35:43.105" v="100"/>
        <pc:sldMkLst>
          <pc:docMk/>
          <pc:sldMk cId="3474179193" sldId="408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6:16:53.063" v="5"/>
          <ac:spMkLst>
            <pc:docMk/>
            <pc:sldMk cId="3474179193" sldId="408"/>
            <ac:spMk id="2" creationId="{8E53D8EC-6633-4884-B913-20D4CC01107C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6:16:53.063" v="5"/>
          <ac:spMkLst>
            <pc:docMk/>
            <pc:sldMk cId="3474179193" sldId="408"/>
            <ac:spMk id="4" creationId="{14921AFD-1C31-4400-ACDA-CAE3726B7E5F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6:14:03.577" v="1"/>
          <ac:spMkLst>
            <pc:docMk/>
            <pc:sldMk cId="3474179193" sldId="408"/>
            <ac:spMk id="5" creationId="{1414BB39-1A07-4188-8077-2A0AA2CE1F14}"/>
          </ac:spMkLst>
        </pc:spChg>
        <pc:spChg chg="add del">
          <ac:chgData name="Oscar Silva" userId="S::oscar.silva_hundred.com.pe#ext#@belcorpbiz.onmicrosoft.com::6509ea30-3ada-4454-82a9-ec2acf182713" providerId="AD" clId="Web-{E7961986-0BD6-458D-9B2F-3D8640103137}" dt="2019-06-17T16:16:53.063" v="5"/>
          <ac:spMkLst>
            <pc:docMk/>
            <pc:sldMk cId="3474179193" sldId="408"/>
            <ac:spMk id="9" creationId="{72257994-BD97-4691-8B89-198A6D2BABDC}"/>
          </ac:spMkLst>
        </pc:spChg>
        <pc:spChg chg="add">
          <ac:chgData name="Oscar Silva" userId="S::oscar.silva_hundred.com.pe#ext#@belcorpbiz.onmicrosoft.com::6509ea30-3ada-4454-82a9-ec2acf182713" providerId="AD" clId="Web-{E7961986-0BD6-458D-9B2F-3D8640103137}" dt="2019-06-17T16:16:53.063" v="5"/>
          <ac:spMkLst>
            <pc:docMk/>
            <pc:sldMk cId="3474179193" sldId="408"/>
            <ac:spMk id="14" creationId="{1045B59B-615E-4718-A150-42DE5D03E1C8}"/>
          </ac:spMkLst>
        </pc:spChg>
        <pc:spChg chg="add">
          <ac:chgData name="Oscar Silva" userId="S::oscar.silva_hundred.com.pe#ext#@belcorpbiz.onmicrosoft.com::6509ea30-3ada-4454-82a9-ec2acf182713" providerId="AD" clId="Web-{E7961986-0BD6-458D-9B2F-3D8640103137}" dt="2019-06-17T16:16:53.063" v="5"/>
          <ac:spMkLst>
            <pc:docMk/>
            <pc:sldMk cId="3474179193" sldId="408"/>
            <ac:spMk id="15" creationId="{D6CF29CD-38B8-4924-BA11-6D60517487EF}"/>
          </ac:spMkLst>
        </pc:spChg>
        <pc:picChg chg="add mod ord">
          <ac:chgData name="Oscar Silva" userId="S::oscar.silva_hundred.com.pe#ext#@belcorpbiz.onmicrosoft.com::6509ea30-3ada-4454-82a9-ec2acf182713" providerId="AD" clId="Web-{E7961986-0BD6-458D-9B2F-3D8640103137}" dt="2019-06-17T16:16:53.063" v="5"/>
          <ac:picMkLst>
            <pc:docMk/>
            <pc:sldMk cId="3474179193" sldId="408"/>
            <ac:picMk id="6" creationId="{66852630-36BB-4E2C-9A61-E9E05544F274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6:13:58.796" v="0"/>
          <ac:picMkLst>
            <pc:docMk/>
            <pc:sldMk cId="3474179193" sldId="408"/>
            <ac:picMk id="17" creationId="{744C74E0-949A-4763-8C2B-E6A74B16CE54}"/>
          </ac:picMkLst>
        </pc:picChg>
      </pc:sldChg>
      <pc:sldChg chg="addSp delSp modSp add replId">
        <pc:chgData name="Oscar Silva" userId="S::oscar.silva_hundred.com.pe#ext#@belcorpbiz.onmicrosoft.com::6509ea30-3ada-4454-82a9-ec2acf182713" providerId="AD" clId="Web-{E7961986-0BD6-458D-9B2F-3D8640103137}" dt="2019-06-17T16:34:29.120" v="77" actId="20577"/>
        <pc:sldMkLst>
          <pc:docMk/>
          <pc:sldMk cId="3984080809" sldId="409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6:33:51.042" v="33" actId="20577"/>
          <ac:spMkLst>
            <pc:docMk/>
            <pc:sldMk cId="3984080809" sldId="409"/>
            <ac:spMk id="2" creationId="{C2DF2AFA-C34C-4A8B-A775-9E1050F5D493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6:34:29.120" v="77" actId="20577"/>
          <ac:spMkLst>
            <pc:docMk/>
            <pc:sldMk cId="3984080809" sldId="409"/>
            <ac:spMk id="4" creationId="{98DB70BF-04FF-491C-BBF8-576221E97F3E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6:31:57.431" v="15"/>
          <ac:spMkLst>
            <pc:docMk/>
            <pc:sldMk cId="3984080809" sldId="409"/>
            <ac:spMk id="8" creationId="{3DFE9EE0-269D-46FB-B572-B91E6C294EE1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6:33:03.900" v="22"/>
          <ac:spMkLst>
            <pc:docMk/>
            <pc:sldMk cId="3984080809" sldId="409"/>
            <ac:spMk id="10" creationId="{90ED22FE-073B-4CD3-9EAD-558065039FDE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6:33:37.010" v="31"/>
          <ac:spMkLst>
            <pc:docMk/>
            <pc:sldMk cId="3984080809" sldId="409"/>
            <ac:spMk id="18" creationId="{346A722A-D4C4-4774-82C7-9E7699A1BA4E}"/>
          </ac:spMkLst>
        </pc:spChg>
        <pc:picChg chg="add del mod">
          <ac:chgData name="Oscar Silva" userId="S::oscar.silva_hundred.com.pe#ext#@belcorpbiz.onmicrosoft.com::6509ea30-3ada-4454-82a9-ec2acf182713" providerId="AD" clId="Web-{E7961986-0BD6-458D-9B2F-3D8640103137}" dt="2019-06-17T16:31:59.228" v="16"/>
          <ac:picMkLst>
            <pc:docMk/>
            <pc:sldMk cId="3984080809" sldId="409"/>
            <ac:picMk id="3" creationId="{55C60DFA-E268-441D-893F-0C00DE547EA9}"/>
          </ac:picMkLst>
        </pc:picChg>
        <pc:picChg chg="add del">
          <ac:chgData name="Oscar Silva" userId="S::oscar.silva_hundred.com.pe#ext#@belcorpbiz.onmicrosoft.com::6509ea30-3ada-4454-82a9-ec2acf182713" providerId="AD" clId="Web-{E7961986-0BD6-458D-9B2F-3D8640103137}" dt="2019-06-17T16:32:01.556" v="17"/>
          <ac:picMkLst>
            <pc:docMk/>
            <pc:sldMk cId="3984080809" sldId="409"/>
            <ac:picMk id="5" creationId="{391C7A1D-7393-4F19-86F5-D6F8F34D1CF2}"/>
          </ac:picMkLst>
        </pc:picChg>
        <pc:picChg chg="add del">
          <ac:chgData name="Oscar Silva" userId="S::oscar.silva_hundred.com.pe#ext#@belcorpbiz.onmicrosoft.com::6509ea30-3ada-4454-82a9-ec2acf182713" providerId="AD" clId="Web-{E7961986-0BD6-458D-9B2F-3D8640103137}" dt="2019-06-17T16:32:12.572" v="19"/>
          <ac:picMkLst>
            <pc:docMk/>
            <pc:sldMk cId="3984080809" sldId="409"/>
            <ac:picMk id="11" creationId="{254F55FF-F363-4A59-89AA-60D604B8CD09}"/>
          </ac:picMkLst>
        </pc:picChg>
        <pc:picChg chg="add del">
          <ac:chgData name="Oscar Silva" userId="S::oscar.silva_hundred.com.pe#ext#@belcorpbiz.onmicrosoft.com::6509ea30-3ada-4454-82a9-ec2acf182713" providerId="AD" clId="Web-{E7961986-0BD6-458D-9B2F-3D8640103137}" dt="2019-06-17T16:32:28.916" v="21"/>
          <ac:picMkLst>
            <pc:docMk/>
            <pc:sldMk cId="3984080809" sldId="409"/>
            <ac:picMk id="12" creationId="{DEBB0D10-5C8A-4CA5-BF15-425C4E51EE73}"/>
          </ac:picMkLst>
        </pc:picChg>
        <pc:picChg chg="add del mod ord">
          <ac:chgData name="Oscar Silva" userId="S::oscar.silva_hundred.com.pe#ext#@belcorpbiz.onmicrosoft.com::6509ea30-3ada-4454-82a9-ec2acf182713" providerId="AD" clId="Web-{E7961986-0BD6-458D-9B2F-3D8640103137}" dt="2019-06-17T16:33:19.682" v="26"/>
          <ac:picMkLst>
            <pc:docMk/>
            <pc:sldMk cId="3984080809" sldId="409"/>
            <ac:picMk id="14" creationId="{3E9481B4-CC7F-4862-9B6B-2427EAAED7B2}"/>
          </ac:picMkLst>
        </pc:picChg>
        <pc:picChg chg="add mod ord">
          <ac:chgData name="Oscar Silva" userId="S::oscar.silva_hundred.com.pe#ext#@belcorpbiz.onmicrosoft.com::6509ea30-3ada-4454-82a9-ec2acf182713" providerId="AD" clId="Web-{E7961986-0BD6-458D-9B2F-3D8640103137}" dt="2019-06-17T16:33:40.370" v="32" actId="1076"/>
          <ac:picMkLst>
            <pc:docMk/>
            <pc:sldMk cId="3984080809" sldId="409"/>
            <ac:picMk id="19" creationId="{79311070-CD09-486A-8F9C-C73D4FE3F522}"/>
          </ac:picMkLst>
        </pc:picChg>
      </pc:sldChg>
      <pc:sldChg chg="addSp delSp modSp add replId">
        <pc:chgData name="Oscar Silva" userId="S::oscar.silva_hundred.com.pe#ext#@belcorpbiz.onmicrosoft.com::6509ea30-3ada-4454-82a9-ec2acf182713" providerId="AD" clId="Web-{E7961986-0BD6-458D-9B2F-3D8640103137}" dt="2019-06-17T16:35:41.121" v="98" actId="20577"/>
        <pc:sldMkLst>
          <pc:docMk/>
          <pc:sldMk cId="642397142" sldId="411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6:35:26.027" v="93" actId="20577"/>
          <ac:spMkLst>
            <pc:docMk/>
            <pc:sldMk cId="642397142" sldId="411"/>
            <ac:spMk id="2" creationId="{C2DF2AFA-C34C-4A8B-A775-9E1050F5D493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6:35:41.121" v="98" actId="20577"/>
          <ac:spMkLst>
            <pc:docMk/>
            <pc:sldMk cId="642397142" sldId="411"/>
            <ac:spMk id="4" creationId="{98DB70BF-04FF-491C-BBF8-576221E97F3E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6:34:46.886" v="84"/>
          <ac:spMkLst>
            <pc:docMk/>
            <pc:sldMk cId="642397142" sldId="411"/>
            <ac:spMk id="6" creationId="{DD60701D-6B59-4197-917B-555C29110AC0}"/>
          </ac:spMkLst>
        </pc:spChg>
        <pc:picChg chg="add mod modCrop">
          <ac:chgData name="Oscar Silva" userId="S::oscar.silva_hundred.com.pe#ext#@belcorpbiz.onmicrosoft.com::6509ea30-3ada-4454-82a9-ec2acf182713" providerId="AD" clId="Web-{E7961986-0BD6-458D-9B2F-3D8640103137}" dt="2019-06-17T16:35:08.949" v="89" actId="1076"/>
          <ac:picMkLst>
            <pc:docMk/>
            <pc:sldMk cId="642397142" sldId="411"/>
            <ac:picMk id="3" creationId="{F78FD069-DBE1-4560-8788-AFDAF0E52D0B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6:34:44.292" v="83"/>
          <ac:picMkLst>
            <pc:docMk/>
            <pc:sldMk cId="642397142" sldId="411"/>
            <ac:picMk id="19" creationId="{79311070-CD09-486A-8F9C-C73D4FE3F522}"/>
          </ac:picMkLst>
        </pc:picChg>
      </pc:sldChg>
      <pc:sldChg chg="modSp add replId">
        <pc:chgData name="Oscar Silva" userId="S::oscar.silva_hundred.com.pe#ext#@belcorpbiz.onmicrosoft.com::6509ea30-3ada-4454-82a9-ec2acf182713" providerId="AD" clId="Web-{E7961986-0BD6-458D-9B2F-3D8640103137}" dt="2019-06-17T16:47:01.065" v="115" actId="20577"/>
        <pc:sldMkLst>
          <pc:docMk/>
          <pc:sldMk cId="3119690456" sldId="412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6:47:01.065" v="115" actId="20577"/>
          <ac:spMkLst>
            <pc:docMk/>
            <pc:sldMk cId="3119690456" sldId="412"/>
            <ac:spMk id="293" creationId="{00000000-0000-0000-0000-000000000000}"/>
          </ac:spMkLst>
        </pc:spChg>
      </pc:sldChg>
      <pc:sldChg chg="delSp modSp new del mod modClrScheme chgLayout">
        <pc:chgData name="Oscar Silva" userId="S::oscar.silva_hundred.com.pe#ext#@belcorpbiz.onmicrosoft.com::6509ea30-3ada-4454-82a9-ec2acf182713" providerId="AD" clId="Web-{E7961986-0BD6-458D-9B2F-3D8640103137}" dt="2019-06-17T16:46:40.565" v="103"/>
        <pc:sldMkLst>
          <pc:docMk/>
          <pc:sldMk cId="3378077227" sldId="412"/>
        </pc:sldMkLst>
        <pc:spChg chg="mod ord">
          <ac:chgData name="Oscar Silva" userId="S::oscar.silva_hundred.com.pe#ext#@belcorpbiz.onmicrosoft.com::6509ea30-3ada-4454-82a9-ec2acf182713" providerId="AD" clId="Web-{E7961986-0BD6-458D-9B2F-3D8640103137}" dt="2019-06-17T16:46:33.049" v="102"/>
          <ac:spMkLst>
            <pc:docMk/>
            <pc:sldMk cId="3378077227" sldId="412"/>
            <ac:spMk id="2" creationId="{878859A1-0209-4FB4-9EB6-7649632837FB}"/>
          </ac:spMkLst>
        </pc:spChg>
        <pc:spChg chg="mod ord">
          <ac:chgData name="Oscar Silva" userId="S::oscar.silva_hundred.com.pe#ext#@belcorpbiz.onmicrosoft.com::6509ea30-3ada-4454-82a9-ec2acf182713" providerId="AD" clId="Web-{E7961986-0BD6-458D-9B2F-3D8640103137}" dt="2019-06-17T16:46:33.049" v="102"/>
          <ac:spMkLst>
            <pc:docMk/>
            <pc:sldMk cId="3378077227" sldId="412"/>
            <ac:spMk id="3" creationId="{6D8D1739-3C02-4A9E-9400-56FE600294DE}"/>
          </ac:spMkLst>
        </pc:spChg>
        <pc:spChg chg="del">
          <ac:chgData name="Oscar Silva" userId="S::oscar.silva_hundred.com.pe#ext#@belcorpbiz.onmicrosoft.com::6509ea30-3ada-4454-82a9-ec2acf182713" providerId="AD" clId="Web-{E7961986-0BD6-458D-9B2F-3D8640103137}" dt="2019-06-17T16:46:33.049" v="102"/>
          <ac:spMkLst>
            <pc:docMk/>
            <pc:sldMk cId="3378077227" sldId="412"/>
            <ac:spMk id="4" creationId="{70496894-90C3-4299-AACC-5789D0E5971E}"/>
          </ac:spMkLst>
        </pc:spChg>
      </pc:sldChg>
      <pc:sldChg chg="addSp modSp new mod setBg modClrScheme chgLayout">
        <pc:chgData name="Oscar Silva" userId="S::oscar.silva_hundred.com.pe#ext#@belcorpbiz.onmicrosoft.com::6509ea30-3ada-4454-82a9-ec2acf182713" providerId="AD" clId="Web-{E7961986-0BD6-458D-9B2F-3D8640103137}" dt="2019-06-17T19:49:07.318" v="1667" actId="1076"/>
        <pc:sldMkLst>
          <pc:docMk/>
          <pc:sldMk cId="402013583" sldId="413"/>
        </pc:sldMkLst>
        <pc:spChg chg="mod ord">
          <ac:chgData name="Oscar Silva" userId="S::oscar.silva_hundred.com.pe#ext#@belcorpbiz.onmicrosoft.com::6509ea30-3ada-4454-82a9-ec2acf182713" providerId="AD" clId="Web-{E7961986-0BD6-458D-9B2F-3D8640103137}" dt="2019-06-17T16:50:27.536" v="140"/>
          <ac:spMkLst>
            <pc:docMk/>
            <pc:sldMk cId="402013583" sldId="413"/>
            <ac:spMk id="2" creationId="{9E599E63-CC8B-44D7-9DE7-B17EB32DC687}"/>
          </ac:spMkLst>
        </pc:spChg>
        <pc:spChg chg="mod ord">
          <ac:chgData name="Oscar Silva" userId="S::oscar.silva_hundred.com.pe#ext#@belcorpbiz.onmicrosoft.com::6509ea30-3ada-4454-82a9-ec2acf182713" providerId="AD" clId="Web-{E7961986-0BD6-458D-9B2F-3D8640103137}" dt="2019-06-17T16:50:27.536" v="140"/>
          <ac:spMkLst>
            <pc:docMk/>
            <pc:sldMk cId="402013583" sldId="413"/>
            <ac:spMk id="3" creationId="{F9E6854D-EADD-491C-A7E1-8498573BBFE4}"/>
          </ac:spMkLst>
        </pc:spChg>
        <pc:spChg chg="add">
          <ac:chgData name="Oscar Silva" userId="S::oscar.silva_hundred.com.pe#ext#@belcorpbiz.onmicrosoft.com::6509ea30-3ada-4454-82a9-ec2acf182713" providerId="AD" clId="Web-{E7961986-0BD6-458D-9B2F-3D8640103137}" dt="2019-06-17T16:50:27.536" v="140"/>
          <ac:spMkLst>
            <pc:docMk/>
            <pc:sldMk cId="402013583" sldId="413"/>
            <ac:spMk id="9" creationId="{87CC2527-562A-4F69-B487-4371E5B243E7}"/>
          </ac:spMkLst>
        </pc:spChg>
        <pc:picChg chg="add mod ord">
          <ac:chgData name="Oscar Silva" userId="S::oscar.silva_hundred.com.pe#ext#@belcorpbiz.onmicrosoft.com::6509ea30-3ada-4454-82a9-ec2acf182713" providerId="AD" clId="Web-{E7961986-0BD6-458D-9B2F-3D8640103137}" dt="2019-06-17T19:49:07.318" v="1667" actId="1076"/>
          <ac:picMkLst>
            <pc:docMk/>
            <pc:sldMk cId="402013583" sldId="413"/>
            <ac:picMk id="4" creationId="{F1B46E85-26D2-401C-874B-17842C1123B2}"/>
          </ac:picMkLst>
        </pc:picChg>
        <pc:cxnChg chg="add">
          <ac:chgData name="Oscar Silva" userId="S::oscar.silva_hundred.com.pe#ext#@belcorpbiz.onmicrosoft.com::6509ea30-3ada-4454-82a9-ec2acf182713" providerId="AD" clId="Web-{E7961986-0BD6-458D-9B2F-3D8640103137}" dt="2019-06-17T16:50:27.536" v="140"/>
          <ac:cxnSpMkLst>
            <pc:docMk/>
            <pc:sldMk cId="402013583" sldId="413"/>
            <ac:cxnSpMk id="11" creationId="{BCDAEC91-5BCE-4B55-9CC0-43EF94CB734B}"/>
          </ac:cxnSpMkLst>
        </pc:cxnChg>
      </pc:sldChg>
      <pc:sldChg chg="new">
        <pc:chgData name="Oscar Silva" userId="S::oscar.silva_hundred.com.pe#ext#@belcorpbiz.onmicrosoft.com::6509ea30-3ada-4454-82a9-ec2acf182713" providerId="AD" clId="Web-{E7961986-0BD6-458D-9B2F-3D8640103137}" dt="2019-06-17T16:50:44.614" v="141"/>
        <pc:sldMkLst>
          <pc:docMk/>
          <pc:sldMk cId="509629342" sldId="415"/>
        </pc:sldMkLst>
      </pc:sldChg>
      <pc:sldChg chg="add del replId">
        <pc:chgData name="Oscar Silva" userId="S::oscar.silva_hundred.com.pe#ext#@belcorpbiz.onmicrosoft.com::6509ea30-3ada-4454-82a9-ec2acf182713" providerId="AD" clId="Web-{E7961986-0BD6-458D-9B2F-3D8640103137}" dt="2019-06-17T16:49:16.394" v="119"/>
        <pc:sldMkLst>
          <pc:docMk/>
          <pc:sldMk cId="2569213363" sldId="415"/>
        </pc:sldMkLst>
      </pc:sldChg>
      <pc:sldChg chg="addSp delSp modSp mod setBg modClrScheme addAnim delAnim modAnim setClrOvrMap chgLayout">
        <pc:chgData name="Oscar Silva" userId="S::oscar.silva_hundred.com.pe#ext#@belcorpbiz.onmicrosoft.com::6509ea30-3ada-4454-82a9-ec2acf182713" providerId="AD" clId="Web-{E7961986-0BD6-458D-9B2F-3D8640103137}" dt="2019-06-17T19:54:33.569" v="1682"/>
        <pc:sldMkLst>
          <pc:docMk/>
          <pc:sldMk cId="509629342" sldId="416"/>
        </pc:sldMkLst>
        <pc:spChg chg="mod ord">
          <ac:chgData name="Oscar Silva" userId="S::oscar.silva_hundred.com.pe#ext#@belcorpbiz.onmicrosoft.com::6509ea30-3ada-4454-82a9-ec2acf182713" providerId="AD" clId="Web-{E7961986-0BD6-458D-9B2F-3D8640103137}" dt="2019-06-17T16:57:02.961" v="302"/>
          <ac:spMkLst>
            <pc:docMk/>
            <pc:sldMk cId="509629342" sldId="416"/>
            <ac:spMk id="2" creationId="{9C7E4738-1952-424E-AFE0-FD990EC308B0}"/>
          </ac:spMkLst>
        </pc:spChg>
        <pc:spChg chg="mod ord">
          <ac:chgData name="Oscar Silva" userId="S::oscar.silva_hundred.com.pe#ext#@belcorpbiz.onmicrosoft.com::6509ea30-3ada-4454-82a9-ec2acf182713" providerId="AD" clId="Web-{E7961986-0BD6-458D-9B2F-3D8640103137}" dt="2019-06-17T16:57:02.961" v="302"/>
          <ac:spMkLst>
            <pc:docMk/>
            <pc:sldMk cId="509629342" sldId="416"/>
            <ac:spMk id="3" creationId="{1643E306-05F4-4008-A7F6-169E9044F9A6}"/>
          </ac:spMkLst>
        </pc:spChg>
        <pc:spChg chg="add del mod ord">
          <ac:chgData name="Oscar Silva" userId="S::oscar.silva_hundred.com.pe#ext#@belcorpbiz.onmicrosoft.com::6509ea30-3ada-4454-82a9-ec2acf182713" providerId="AD" clId="Web-{E7961986-0BD6-458D-9B2F-3D8640103137}" dt="2019-06-17T16:56:01.257" v="174"/>
          <ac:spMkLst>
            <pc:docMk/>
            <pc:sldMk cId="509629342" sldId="416"/>
            <ac:spMk id="6" creationId="{E7425658-A86A-40C9-AD89-40E224A4134A}"/>
          </ac:spMkLst>
        </pc:spChg>
        <pc:spChg chg="add">
          <ac:chgData name="Oscar Silva" userId="S::oscar.silva_hundred.com.pe#ext#@belcorpbiz.onmicrosoft.com::6509ea30-3ada-4454-82a9-ec2acf182713" providerId="AD" clId="Web-{E7961986-0BD6-458D-9B2F-3D8640103137}" dt="2019-06-17T16:57:02.961" v="302"/>
          <ac:spMkLst>
            <pc:docMk/>
            <pc:sldMk cId="509629342" sldId="416"/>
            <ac:spMk id="9" creationId="{0BC9EFE1-D8CB-4668-9980-DB108327A794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6:57:18.821" v="304"/>
          <ac:spMkLst>
            <pc:docMk/>
            <pc:sldMk cId="509629342" sldId="416"/>
            <ac:spMk id="11" creationId="{138B1CF5-FDEB-47A5-B352-F8D0E2413635}"/>
          </ac:spMkLst>
        </pc:spChg>
        <pc:spChg chg="add del">
          <ac:chgData name="Oscar Silva" userId="S::oscar.silva_hundred.com.pe#ext#@belcorpbiz.onmicrosoft.com::6509ea30-3ada-4454-82a9-ec2acf182713" providerId="AD" clId="Web-{E7961986-0BD6-458D-9B2F-3D8640103137}" dt="2019-06-17T16:57:02.946" v="301"/>
          <ac:spMkLst>
            <pc:docMk/>
            <pc:sldMk cId="509629342" sldId="416"/>
            <ac:spMk id="12" creationId="{1DB7C82F-AB7E-4F0C-B829-FA1B9C415180}"/>
          </ac:spMkLst>
        </pc:spChg>
        <pc:spChg chg="add">
          <ac:chgData name="Oscar Silva" userId="S::oscar.silva_hundred.com.pe#ext#@belcorpbiz.onmicrosoft.com::6509ea30-3ada-4454-82a9-ec2acf182713" providerId="AD" clId="Web-{E7961986-0BD6-458D-9B2F-3D8640103137}" dt="2019-06-17T16:57:02.961" v="302"/>
          <ac:spMkLst>
            <pc:docMk/>
            <pc:sldMk cId="509629342" sldId="416"/>
            <ac:spMk id="16" creationId="{77DA6D33-2D62-458C-BF5D-DBF612FD557E}"/>
          </ac:spMkLst>
        </pc:spChg>
        <pc:picChg chg="add del mod">
          <ac:chgData name="Oscar Silva" userId="S::oscar.silva_hundred.com.pe#ext#@belcorpbiz.onmicrosoft.com::6509ea30-3ada-4454-82a9-ec2acf182713" providerId="AD" clId="Web-{E7961986-0BD6-458D-9B2F-3D8640103137}" dt="2019-06-17T16:55:59.117" v="173"/>
          <ac:picMkLst>
            <pc:docMk/>
            <pc:sldMk cId="509629342" sldId="416"/>
            <ac:picMk id="4" creationId="{5F828CFC-2839-46E3-B0ED-2F9FEDD17E35}"/>
          </ac:picMkLst>
        </pc:picChg>
        <pc:picChg chg="add del">
          <ac:chgData name="Oscar Silva" userId="S::oscar.silva_hundred.com.pe#ext#@belcorpbiz.onmicrosoft.com::6509ea30-3ada-4454-82a9-ec2acf182713" providerId="AD" clId="Web-{E7961986-0BD6-458D-9B2F-3D8640103137}" dt="2019-06-17T19:53:59.444" v="1675"/>
          <ac:picMkLst>
            <pc:docMk/>
            <pc:sldMk cId="509629342" sldId="416"/>
            <ac:picMk id="4" creationId="{E9B40870-1932-4037-8D87-24C3DC1BC987}"/>
          </ac:picMkLst>
        </pc:picChg>
        <pc:picChg chg="add mod">
          <ac:chgData name="Oscar Silva" userId="S::oscar.silva_hundred.com.pe#ext#@belcorpbiz.onmicrosoft.com::6509ea30-3ada-4454-82a9-ec2acf182713" providerId="AD" clId="Web-{E7961986-0BD6-458D-9B2F-3D8640103137}" dt="2019-06-17T19:54:31.241" v="1680" actId="1076"/>
          <ac:picMkLst>
            <pc:docMk/>
            <pc:sldMk cId="509629342" sldId="416"/>
            <ac:picMk id="5" creationId="{CA6C16AB-B1B1-4F8E-AE2A-3DE6A16D85C2}"/>
          </ac:picMkLst>
        </pc:picChg>
        <pc:picChg chg="add del mod ord">
          <ac:chgData name="Oscar Silva" userId="S::oscar.silva_hundred.com.pe#ext#@belcorpbiz.onmicrosoft.com::6509ea30-3ada-4454-82a9-ec2acf182713" providerId="AD" clId="Web-{E7961986-0BD6-458D-9B2F-3D8640103137}" dt="2019-06-17T16:57:17.211" v="303"/>
          <ac:picMkLst>
            <pc:docMk/>
            <pc:sldMk cId="509629342" sldId="416"/>
            <ac:picMk id="7" creationId="{C92F2247-9344-4801-81C0-0A7F9E1F6B35}"/>
          </ac:picMkLst>
        </pc:picChg>
        <pc:picChg chg="add mod ord">
          <ac:chgData name="Oscar Silva" userId="S::oscar.silva_hundred.com.pe#ext#@belcorpbiz.onmicrosoft.com::6509ea30-3ada-4454-82a9-ec2acf182713" providerId="AD" clId="Web-{E7961986-0BD6-458D-9B2F-3D8640103137}" dt="2019-06-17T16:57:47.212" v="312" actId="1076"/>
          <ac:picMkLst>
            <pc:docMk/>
            <pc:sldMk cId="509629342" sldId="416"/>
            <ac:picMk id="13" creationId="{4FEC8E14-3BB9-40FE-B884-4873EC83794F}"/>
          </ac:picMkLst>
        </pc:picChg>
        <pc:picChg chg="add">
          <ac:chgData name="Oscar Silva" userId="S::oscar.silva_hundred.com.pe#ext#@belcorpbiz.onmicrosoft.com::6509ea30-3ada-4454-82a9-ec2acf182713" providerId="AD" clId="Web-{E7961986-0BD6-458D-9B2F-3D8640103137}" dt="2019-06-17T16:57:02.961" v="302"/>
          <ac:picMkLst>
            <pc:docMk/>
            <pc:sldMk cId="509629342" sldId="416"/>
            <ac:picMk id="14" creationId="{7CBAE1BD-B8E4-4029-8AA2-C77E4FED9864}"/>
          </ac:picMkLst>
        </pc:picChg>
      </pc:sldChg>
      <pc:sldChg chg="addSp delSp modSp add replId addAnim modAnim">
        <pc:chgData name="Oscar Silva" userId="S::oscar.silva_hundred.com.pe#ext#@belcorpbiz.onmicrosoft.com::6509ea30-3ada-4454-82a9-ec2acf182713" providerId="AD" clId="Web-{E7961986-0BD6-458D-9B2F-3D8640103137}" dt="2019-06-17T19:56:03.523" v="1690"/>
        <pc:sldMkLst>
          <pc:docMk/>
          <pc:sldMk cId="1890767864" sldId="417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6:59:04.994" v="323" actId="20577"/>
          <ac:spMkLst>
            <pc:docMk/>
            <pc:sldMk cId="1890767864" sldId="417"/>
            <ac:spMk id="2" creationId="{9C7E4738-1952-424E-AFE0-FD990EC308B0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6:59:50.010" v="477" actId="20577"/>
          <ac:spMkLst>
            <pc:docMk/>
            <pc:sldMk cId="1890767864" sldId="417"/>
            <ac:spMk id="3" creationId="{1643E306-05F4-4008-A7F6-169E9044F9A6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6:58:54.165" v="315"/>
          <ac:spMkLst>
            <pc:docMk/>
            <pc:sldMk cId="1890767864" sldId="417"/>
            <ac:spMk id="5" creationId="{072E4BCB-504C-45DF-8079-25AAC5DBC275}"/>
          </ac:spMkLst>
        </pc:spChg>
        <pc:picChg chg="add mod">
          <ac:chgData name="Oscar Silva" userId="S::oscar.silva_hundred.com.pe#ext#@belcorpbiz.onmicrosoft.com::6509ea30-3ada-4454-82a9-ec2acf182713" providerId="AD" clId="Web-{E7961986-0BD6-458D-9B2F-3D8640103137}" dt="2019-06-17T19:54:55.632" v="1685" actId="14100"/>
          <ac:picMkLst>
            <pc:docMk/>
            <pc:sldMk cId="1890767864" sldId="417"/>
            <ac:picMk id="4" creationId="{EFB8BE94-8C6A-4038-95CA-FBF5335EDC5E}"/>
          </ac:picMkLst>
        </pc:picChg>
        <pc:picChg chg="add mod ord">
          <ac:chgData name="Oscar Silva" userId="S::oscar.silva_hundred.com.pe#ext#@belcorpbiz.onmicrosoft.com::6509ea30-3ada-4454-82a9-ec2acf182713" providerId="AD" clId="Web-{E7961986-0BD6-458D-9B2F-3D8640103137}" dt="2019-06-17T16:58:58.134" v="316" actId="1076"/>
          <ac:picMkLst>
            <pc:docMk/>
            <pc:sldMk cId="1890767864" sldId="417"/>
            <ac:picMk id="6" creationId="{66BF235D-FCB6-4199-81BC-2391713DA006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6:57:58.368" v="314"/>
          <ac:picMkLst>
            <pc:docMk/>
            <pc:sldMk cId="1890767864" sldId="417"/>
            <ac:picMk id="13" creationId="{4FEC8E14-3BB9-40FE-B884-4873EC83794F}"/>
          </ac:picMkLst>
        </pc:picChg>
      </pc:sldChg>
      <pc:sldChg chg="addSp delSp modSp add replId addAnim modAnim">
        <pc:chgData name="Oscar Silva" userId="S::oscar.silva_hundred.com.pe#ext#@belcorpbiz.onmicrosoft.com::6509ea30-3ada-4454-82a9-ec2acf182713" providerId="AD" clId="Web-{E7961986-0BD6-458D-9B2F-3D8640103137}" dt="2019-06-17T19:53:37.835" v="1673"/>
        <pc:sldMkLst>
          <pc:docMk/>
          <pc:sldMk cId="2135361212" sldId="418"/>
        </pc:sldMkLst>
        <pc:spChg chg="mod ord">
          <ac:chgData name="Oscar Silva" userId="S::oscar.silva_hundred.com.pe#ext#@belcorpbiz.onmicrosoft.com::6509ea30-3ada-4454-82a9-ec2acf182713" providerId="AD" clId="Web-{E7961986-0BD6-458D-9B2F-3D8640103137}" dt="2019-06-17T17:17:08.988" v="625" actId="20577"/>
          <ac:spMkLst>
            <pc:docMk/>
            <pc:sldMk cId="2135361212" sldId="418"/>
            <ac:spMk id="2" creationId="{9C7E4738-1952-424E-AFE0-FD990EC308B0}"/>
          </ac:spMkLst>
        </pc:spChg>
        <pc:spChg chg="mod ord">
          <ac:chgData name="Oscar Silva" userId="S::oscar.silva_hundred.com.pe#ext#@belcorpbiz.onmicrosoft.com::6509ea30-3ada-4454-82a9-ec2acf182713" providerId="AD" clId="Web-{E7961986-0BD6-458D-9B2F-3D8640103137}" dt="2019-06-17T17:15:25.003" v="595" actId="20577"/>
          <ac:spMkLst>
            <pc:docMk/>
            <pc:sldMk cId="2135361212" sldId="418"/>
            <ac:spMk id="3" creationId="{1643E306-05F4-4008-A7F6-169E9044F9A6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7:04:09.340" v="481"/>
          <ac:spMkLst>
            <pc:docMk/>
            <pc:sldMk cId="2135361212" sldId="418"/>
            <ac:spMk id="5" creationId="{6A3ABE5D-6CCC-43A7-A5E0-0B06044B5DCA}"/>
          </ac:spMkLst>
        </pc:spChg>
        <pc:spChg chg="add mod ord">
          <ac:chgData name="Oscar Silva" userId="S::oscar.silva_hundred.com.pe#ext#@belcorpbiz.onmicrosoft.com::6509ea30-3ada-4454-82a9-ec2acf182713" providerId="AD" clId="Web-{E7961986-0BD6-458D-9B2F-3D8640103137}" dt="2019-06-17T19:48:31.099" v="1663"/>
          <ac:spMkLst>
            <pc:docMk/>
            <pc:sldMk cId="2135361212" sldId="418"/>
            <ac:spMk id="10" creationId="{C13F3A85-E56F-48DB-B7E0-F69AA92BA842}"/>
          </ac:spMkLst>
        </pc:spChg>
        <pc:picChg chg="add mod">
          <ac:chgData name="Oscar Silva" userId="S::oscar.silva_hundred.com.pe#ext#@belcorpbiz.onmicrosoft.com::6509ea30-3ada-4454-82a9-ec2acf182713" providerId="AD" clId="Web-{E7961986-0BD6-458D-9B2F-3D8640103137}" dt="2019-06-17T19:53:16.241" v="1671" actId="1076"/>
          <ac:picMkLst>
            <pc:docMk/>
            <pc:sldMk cId="2135361212" sldId="418"/>
            <ac:picMk id="4" creationId="{999724B8-0BDC-4613-B8E3-2CF450AB856D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7:00:02.370" v="480"/>
          <ac:picMkLst>
            <pc:docMk/>
            <pc:sldMk cId="2135361212" sldId="418"/>
            <ac:picMk id="6" creationId="{66BF235D-FCB6-4199-81BC-2391713DA006}"/>
          </ac:picMkLst>
        </pc:picChg>
        <pc:picChg chg="add mod ord">
          <ac:chgData name="Oscar Silva" userId="S::oscar.silva_hundred.com.pe#ext#@belcorpbiz.onmicrosoft.com::6509ea30-3ada-4454-82a9-ec2acf182713" providerId="AD" clId="Web-{E7961986-0BD6-458D-9B2F-3D8640103137}" dt="2019-06-17T17:04:16.200" v="484" actId="1076"/>
          <ac:picMkLst>
            <pc:docMk/>
            <pc:sldMk cId="2135361212" sldId="418"/>
            <ac:picMk id="7" creationId="{192A72E3-1DFC-4988-9065-3FF603BD7343}"/>
          </ac:picMkLst>
        </pc:picChg>
      </pc:sldChg>
      <pc:sldChg chg="addSp delSp modSp add mod replId modClrScheme delDesignElem chgLayout">
        <pc:chgData name="Oscar Silva" userId="S::oscar.silva_hundred.com.pe#ext#@belcorpbiz.onmicrosoft.com::6509ea30-3ada-4454-82a9-ec2acf182713" providerId="AD" clId="Web-{E7961986-0BD6-458D-9B2F-3D8640103137}" dt="2019-06-17T20:47:08.118" v="1889"/>
        <pc:sldMkLst>
          <pc:docMk/>
          <pc:sldMk cId="1999803423" sldId="420"/>
        </pc:sldMkLst>
        <pc:spChg chg="add">
          <ac:chgData name="Oscar Silva" userId="S::oscar.silva_hundred.com.pe#ext#@belcorpbiz.onmicrosoft.com::6509ea30-3ada-4454-82a9-ec2acf182713" providerId="AD" clId="Web-{E7961986-0BD6-458D-9B2F-3D8640103137}" dt="2019-06-17T20:47:08.118" v="1889"/>
          <ac:spMkLst>
            <pc:docMk/>
            <pc:sldMk cId="1999803423" sldId="420"/>
            <ac:spMk id="2" creationId="{8AE523C8-EF14-47DB-B85E-4BBC333CD1A4}"/>
          </ac:spMkLst>
        </pc:spChg>
        <pc:spChg chg="del ord">
          <ac:chgData name="Oscar Silva" userId="S::oscar.silva_hundred.com.pe#ext#@belcorpbiz.onmicrosoft.com::6509ea30-3ada-4454-82a9-ec2acf182713" providerId="AD" clId="Web-{E7961986-0BD6-458D-9B2F-3D8640103137}" dt="2019-06-17T17:17:25.114" v="631"/>
          <ac:spMkLst>
            <pc:docMk/>
            <pc:sldMk cId="1999803423" sldId="420"/>
            <ac:spMk id="2" creationId="{9C7E4738-1952-424E-AFE0-FD990EC308B0}"/>
          </ac:spMkLst>
        </pc:spChg>
        <pc:spChg chg="del ord">
          <ac:chgData name="Oscar Silva" userId="S::oscar.silva_hundred.com.pe#ext#@belcorpbiz.onmicrosoft.com::6509ea30-3ada-4454-82a9-ec2acf182713" providerId="AD" clId="Web-{E7961986-0BD6-458D-9B2F-3D8640103137}" dt="2019-06-17T17:17:22.848" v="630"/>
          <ac:spMkLst>
            <pc:docMk/>
            <pc:sldMk cId="1999803423" sldId="420"/>
            <ac:spMk id="3" creationId="{1643E306-05F4-4008-A7F6-169E9044F9A6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7:15:59.066" v="602"/>
          <ac:spMkLst>
            <pc:docMk/>
            <pc:sldMk cId="1999803423" sldId="420"/>
            <ac:spMk id="5" creationId="{A27BB212-7603-475F-AC4C-79BD1C679989}"/>
          </ac:spMkLst>
        </pc:spChg>
        <pc:spChg chg="del">
          <ac:chgData name="Oscar Silva" userId="S::oscar.silva_hundred.com.pe#ext#@belcorpbiz.onmicrosoft.com::6509ea30-3ada-4454-82a9-ec2acf182713" providerId="AD" clId="Web-{E7961986-0BD6-458D-9B2F-3D8640103137}" dt="2019-06-17T17:20:25.881" v="639"/>
          <ac:spMkLst>
            <pc:docMk/>
            <pc:sldMk cId="1999803423" sldId="420"/>
            <ac:spMk id="9" creationId="{0BC9EFE1-D8CB-4668-9980-DB108327A794}"/>
          </ac:spMkLst>
        </pc:spChg>
        <pc:spChg chg="del">
          <ac:chgData name="Oscar Silva" userId="S::oscar.silva_hundred.com.pe#ext#@belcorpbiz.onmicrosoft.com::6509ea30-3ada-4454-82a9-ec2acf182713" providerId="AD" clId="Web-{E7961986-0BD6-458D-9B2F-3D8640103137}" dt="2019-06-17T17:15:41.831" v="598"/>
          <ac:spMkLst>
            <pc:docMk/>
            <pc:sldMk cId="1999803423" sldId="420"/>
            <ac:spMk id="10" creationId="{C13F3A85-E56F-48DB-B7E0-F69AA92BA842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7:17:18.614" v="629"/>
          <ac:spMkLst>
            <pc:docMk/>
            <pc:sldMk cId="1999803423" sldId="420"/>
            <ac:spMk id="12" creationId="{0F35046D-E8FD-4313-A5F5-E91DEC606E23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7:17:32.848" v="633"/>
          <ac:spMkLst>
            <pc:docMk/>
            <pc:sldMk cId="1999803423" sldId="420"/>
            <ac:spMk id="15" creationId="{FEA8A9B9-A660-4F00-A9DF-44C39A7C157F}"/>
          </ac:spMkLst>
        </pc:spChg>
        <pc:spChg chg="del">
          <ac:chgData name="Oscar Silva" userId="S::oscar.silva_hundred.com.pe#ext#@belcorpbiz.onmicrosoft.com::6509ea30-3ada-4454-82a9-ec2acf182713" providerId="AD" clId="Web-{E7961986-0BD6-458D-9B2F-3D8640103137}" dt="2019-06-17T17:20:25.881" v="639"/>
          <ac:spMkLst>
            <pc:docMk/>
            <pc:sldMk cId="1999803423" sldId="420"/>
            <ac:spMk id="16" creationId="{77DA6D33-2D62-458C-BF5D-DBF612FD557E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7:17:29.442" v="632"/>
          <ac:spMkLst>
            <pc:docMk/>
            <pc:sldMk cId="1999803423" sldId="420"/>
            <ac:spMk id="18" creationId="{09B5C57B-6705-4E25-8D26-E3C386C82581}"/>
          </ac:spMkLst>
        </pc:spChg>
        <pc:spChg chg="add mod ord">
          <ac:chgData name="Oscar Silva" userId="S::oscar.silva_hundred.com.pe#ext#@belcorpbiz.onmicrosoft.com::6509ea30-3ada-4454-82a9-ec2acf182713" providerId="AD" clId="Web-{E7961986-0BD6-458D-9B2F-3D8640103137}" dt="2019-06-17T17:21:09.631" v="698" actId="14100"/>
          <ac:spMkLst>
            <pc:docMk/>
            <pc:sldMk cId="1999803423" sldId="420"/>
            <ac:spMk id="19" creationId="{BB80DD76-9F92-4CBB-BACE-614116DECFBC}"/>
          </ac:spMkLst>
        </pc:spChg>
        <pc:spChg chg="add mod ord">
          <ac:chgData name="Oscar Silva" userId="S::oscar.silva_hundred.com.pe#ext#@belcorpbiz.onmicrosoft.com::6509ea30-3ada-4454-82a9-ec2acf182713" providerId="AD" clId="Web-{E7961986-0BD6-458D-9B2F-3D8640103137}" dt="2019-06-17T17:24:01.008" v="936" actId="20577"/>
          <ac:spMkLst>
            <pc:docMk/>
            <pc:sldMk cId="1999803423" sldId="420"/>
            <ac:spMk id="20" creationId="{A4937010-8918-4A66-9412-B48615ACAD9E}"/>
          </ac:spMkLst>
        </pc:spChg>
        <pc:spChg chg="add del">
          <ac:chgData name="Oscar Silva" userId="S::oscar.silva_hundred.com.pe#ext#@belcorpbiz.onmicrosoft.com::6509ea30-3ada-4454-82a9-ec2acf182713" providerId="AD" clId="Web-{E7961986-0BD6-458D-9B2F-3D8640103137}" dt="2019-06-17T17:20:48.491" v="643"/>
          <ac:spMkLst>
            <pc:docMk/>
            <pc:sldMk cId="1999803423" sldId="420"/>
            <ac:spMk id="22" creationId="{3CD9DF72-87A3-404E-A828-84CBF11A8303}"/>
          </ac:spMkLst>
        </pc:spChg>
        <pc:spChg chg="add del">
          <ac:chgData name="Oscar Silva" userId="S::oscar.silva_hundred.com.pe#ext#@belcorpbiz.onmicrosoft.com::6509ea30-3ada-4454-82a9-ec2acf182713" providerId="AD" clId="Web-{E7961986-0BD6-458D-9B2F-3D8640103137}" dt="2019-06-17T17:20:40.334" v="641"/>
          <ac:spMkLst>
            <pc:docMk/>
            <pc:sldMk cId="1999803423" sldId="420"/>
            <ac:spMk id="25" creationId="{4038CB10-1F5C-4D54-9DF7-12586DE5B007}"/>
          </ac:spMkLst>
        </pc:spChg>
        <pc:spChg chg="add del">
          <ac:chgData name="Oscar Silva" userId="S::oscar.silva_hundred.com.pe#ext#@belcorpbiz.onmicrosoft.com::6509ea30-3ada-4454-82a9-ec2acf182713" providerId="AD" clId="Web-{E7961986-0BD6-458D-9B2F-3D8640103137}" dt="2019-06-17T17:20:40.334" v="641"/>
          <ac:spMkLst>
            <pc:docMk/>
            <pc:sldMk cId="1999803423" sldId="420"/>
            <ac:spMk id="27" creationId="{73ED6512-6858-4552-B699-9A97FE9A4EA2}"/>
          </ac:spMkLst>
        </pc:spChg>
        <pc:picChg chg="add del mod ord modCrop">
          <ac:chgData name="Oscar Silva" userId="S::oscar.silva_hundred.com.pe#ext#@belcorpbiz.onmicrosoft.com::6509ea30-3ada-4454-82a9-ec2acf182713" providerId="AD" clId="Web-{E7961986-0BD6-458D-9B2F-3D8640103137}" dt="2019-06-17T17:20:48.506" v="644"/>
          <ac:picMkLst>
            <pc:docMk/>
            <pc:sldMk cId="1999803423" sldId="420"/>
            <ac:picMk id="6" creationId="{EF870DE8-54EB-4697-BD6C-B375F5D648A5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7:15:42.738" v="599"/>
          <ac:picMkLst>
            <pc:docMk/>
            <pc:sldMk cId="1999803423" sldId="420"/>
            <ac:picMk id="7" creationId="{192A72E3-1DFC-4988-9065-3FF603BD7343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7:20:25.881" v="639"/>
          <ac:picMkLst>
            <pc:docMk/>
            <pc:sldMk cId="1999803423" sldId="420"/>
            <ac:picMk id="14" creationId="{7CBAE1BD-B8E4-4029-8AA2-C77E4FED9864}"/>
          </ac:picMkLst>
        </pc:picChg>
        <pc:cxnChg chg="add del">
          <ac:chgData name="Oscar Silva" userId="S::oscar.silva_hundred.com.pe#ext#@belcorpbiz.onmicrosoft.com::6509ea30-3ada-4454-82a9-ec2acf182713" providerId="AD" clId="Web-{E7961986-0BD6-458D-9B2F-3D8640103137}" dt="2019-06-17T17:20:48.491" v="643"/>
          <ac:cxnSpMkLst>
            <pc:docMk/>
            <pc:sldMk cId="1999803423" sldId="420"/>
            <ac:cxnSpMk id="23" creationId="{20E3A342-4D61-4E3F-AF90-1AB42AEB96CC}"/>
          </ac:cxnSpMkLst>
        </pc:cxnChg>
      </pc:sldChg>
      <pc:sldChg chg="addSp delSp modSp add del replId">
        <pc:chgData name="Oscar Silva" userId="S::oscar.silva_hundred.com.pe#ext#@belcorpbiz.onmicrosoft.com::6509ea30-3ada-4454-82a9-ec2acf182713" providerId="AD" clId="Web-{E7961986-0BD6-458D-9B2F-3D8640103137}" dt="2019-06-17T17:23:54.305" v="933"/>
        <pc:sldMkLst>
          <pc:docMk/>
          <pc:sldMk cId="1302719832" sldId="421"/>
        </pc:sldMkLst>
        <pc:spChg chg="add del mod">
          <ac:chgData name="Oscar Silva" userId="S::oscar.silva_hundred.com.pe#ext#@belcorpbiz.onmicrosoft.com::6509ea30-3ada-4454-82a9-ec2acf182713" providerId="AD" clId="Web-{E7961986-0BD6-458D-9B2F-3D8640103137}" dt="2019-06-17T17:19:24.599" v="636"/>
          <ac:spMkLst>
            <pc:docMk/>
            <pc:sldMk cId="1302719832" sldId="421"/>
            <ac:spMk id="3" creationId="{62C9AB10-2CD8-4C77-9922-7D25F86F0525}"/>
          </ac:spMkLst>
        </pc:spChg>
        <pc:spChg chg="add mod">
          <ac:chgData name="Oscar Silva" userId="S::oscar.silva_hundred.com.pe#ext#@belcorpbiz.onmicrosoft.com::6509ea30-3ada-4454-82a9-ec2acf182713" providerId="AD" clId="Web-{E7961986-0BD6-458D-9B2F-3D8640103137}" dt="2019-06-17T17:22:45.898" v="918"/>
          <ac:spMkLst>
            <pc:docMk/>
            <pc:sldMk cId="1302719832" sldId="421"/>
            <ac:spMk id="8" creationId="{00163CE1-B1BE-4DB8-96B3-A489DE833074}"/>
          </ac:spMkLst>
        </pc:spChg>
        <pc:picChg chg="add del mod ord">
          <ac:chgData name="Oscar Silva" userId="S::oscar.silva_hundred.com.pe#ext#@belcorpbiz.onmicrosoft.com::6509ea30-3ada-4454-82a9-ec2acf182713" providerId="AD" clId="Web-{E7961986-0BD6-458D-9B2F-3D8640103137}" dt="2019-06-17T17:22:45.898" v="918"/>
          <ac:picMkLst>
            <pc:docMk/>
            <pc:sldMk cId="1302719832" sldId="421"/>
            <ac:picMk id="4" creationId="{90B18355-4F27-4F99-AEB5-55798FA6202F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7:19:05.302" v="635"/>
          <ac:picMkLst>
            <pc:docMk/>
            <pc:sldMk cId="1302719832" sldId="421"/>
            <ac:picMk id="6" creationId="{EF870DE8-54EB-4697-BD6C-B375F5D648A5}"/>
          </ac:picMkLst>
        </pc:picChg>
      </pc:sldChg>
      <pc:sldChg chg="add del replId">
        <pc:chgData name="Oscar Silva" userId="S::oscar.silva_hundred.com.pe#ext#@belcorpbiz.onmicrosoft.com::6509ea30-3ada-4454-82a9-ec2acf182713" providerId="AD" clId="Web-{E7961986-0BD6-458D-9B2F-3D8640103137}" dt="2019-06-17T17:15:48.425" v="601"/>
        <pc:sldMkLst>
          <pc:docMk/>
          <pc:sldMk cId="3397099219" sldId="421"/>
        </pc:sldMkLst>
      </pc:sldChg>
      <pc:sldChg chg="addSp delSp modSp add replId">
        <pc:chgData name="Oscar Silva" userId="S::oscar.silva_hundred.com.pe#ext#@belcorpbiz.onmicrosoft.com::6509ea30-3ada-4454-82a9-ec2acf182713" providerId="AD" clId="Web-{E7961986-0BD6-458D-9B2F-3D8640103137}" dt="2019-06-17T20:47:00.336" v="1886" actId="20577"/>
        <pc:sldMkLst>
          <pc:docMk/>
          <pc:sldMk cId="2150860712" sldId="423"/>
        </pc:sldMkLst>
        <pc:spChg chg="add mod">
          <ac:chgData name="Oscar Silva" userId="S::oscar.silva_hundred.com.pe#ext#@belcorpbiz.onmicrosoft.com::6509ea30-3ada-4454-82a9-ec2acf182713" providerId="AD" clId="Web-{E7961986-0BD6-458D-9B2F-3D8640103137}" dt="2019-06-17T20:47:00.336" v="1886" actId="20577"/>
          <ac:spMkLst>
            <pc:docMk/>
            <pc:sldMk cId="2150860712" sldId="423"/>
            <ac:spMk id="3" creationId="{C5353A6F-07EA-48D0-827B-5A0D52FEA30D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20:45:39.412" v="1694"/>
          <ac:spMkLst>
            <pc:docMk/>
            <pc:sldMk cId="2150860712" sldId="423"/>
            <ac:spMk id="4" creationId="{F6B90034-F924-4E8D-AF45-28CDE3127F52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7:22:54.367" v="921"/>
          <ac:spMkLst>
            <pc:docMk/>
            <pc:sldMk cId="2150860712" sldId="423"/>
            <ac:spMk id="5" creationId="{007FA6BD-752D-406D-BF6D-A6EB83BE9946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7:23:45.883" v="932"/>
          <ac:spMkLst>
            <pc:docMk/>
            <pc:sldMk cId="2150860712" sldId="423"/>
            <ac:spMk id="8" creationId="{70C87957-C196-4D06-AC09-6F65AA624916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7:24:02.477" v="938" actId="20577"/>
          <ac:spMkLst>
            <pc:docMk/>
            <pc:sldMk cId="2150860712" sldId="423"/>
            <ac:spMk id="20" creationId="{A4937010-8918-4A66-9412-B48615ACAD9E}"/>
          </ac:spMkLst>
        </pc:spChg>
        <pc:picChg chg="add del mod ord">
          <ac:chgData name="Oscar Silva" userId="S::oscar.silva_hundred.com.pe#ext#@belcorpbiz.onmicrosoft.com::6509ea30-3ada-4454-82a9-ec2acf182713" providerId="AD" clId="Web-{E7961986-0BD6-458D-9B2F-3D8640103137}" dt="2019-06-17T17:23:37.117" v="930"/>
          <ac:picMkLst>
            <pc:docMk/>
            <pc:sldMk cId="2150860712" sldId="423"/>
            <ac:picMk id="2" creationId="{11DA2348-F3DE-4C7A-A266-E4EFB820F0D9}"/>
          </ac:picMkLst>
        </pc:picChg>
        <pc:picChg chg="add del mod">
          <ac:chgData name="Oscar Silva" userId="S::oscar.silva_hundred.com.pe#ext#@belcorpbiz.onmicrosoft.com::6509ea30-3ada-4454-82a9-ec2acf182713" providerId="AD" clId="Web-{E7961986-0BD6-458D-9B2F-3D8640103137}" dt="2019-06-17T17:23:39.102" v="931"/>
          <ac:picMkLst>
            <pc:docMk/>
            <pc:sldMk cId="2150860712" sldId="423"/>
            <ac:picMk id="6" creationId="{EF870DE8-54EB-4697-BD6C-B375F5D648A5}"/>
          </ac:picMkLst>
        </pc:picChg>
      </pc:sldChg>
      <pc:sldChg chg="delSp add del replId">
        <pc:chgData name="Oscar Silva" userId="S::oscar.silva_hundred.com.pe#ext#@belcorpbiz.onmicrosoft.com::6509ea30-3ada-4454-82a9-ec2acf182713" providerId="AD" clId="Web-{E7961986-0BD6-458D-9B2F-3D8640103137}" dt="2019-06-17T19:07:56.338" v="1015"/>
        <pc:sldMkLst>
          <pc:docMk/>
          <pc:sldMk cId="4257570308" sldId="427"/>
        </pc:sldMkLst>
        <pc:picChg chg="del">
          <ac:chgData name="Oscar Silva" userId="S::oscar.silva_hundred.com.pe#ext#@belcorpbiz.onmicrosoft.com::6509ea30-3ada-4454-82a9-ec2acf182713" providerId="AD" clId="Web-{E7961986-0BD6-458D-9B2F-3D8640103137}" dt="2019-06-17T18:55:53.654" v="942"/>
          <ac:picMkLst>
            <pc:docMk/>
            <pc:sldMk cId="4257570308" sldId="427"/>
            <ac:picMk id="4" creationId="{F1B46E85-26D2-401C-874B-17842C1123B2}"/>
          </ac:picMkLst>
        </pc:picChg>
      </pc:sldChg>
      <pc:sldChg chg="addSp delSp modSp add replId">
        <pc:chgData name="Oscar Silva" userId="S::oscar.silva_hundred.com.pe#ext#@belcorpbiz.onmicrosoft.com::6509ea30-3ada-4454-82a9-ec2acf182713" providerId="AD" clId="Web-{E7961986-0BD6-458D-9B2F-3D8640103137}" dt="2019-06-17T18:57:37.437" v="1012" actId="20577"/>
        <pc:sldMkLst>
          <pc:docMk/>
          <pc:sldMk cId="1962617831" sldId="428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8:57:22.969" v="989" actId="20577"/>
          <ac:spMkLst>
            <pc:docMk/>
            <pc:sldMk cId="1962617831" sldId="428"/>
            <ac:spMk id="2" creationId="{9E599E63-CC8B-44D7-9DE7-B17EB32DC687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8:57:37.437" v="1012" actId="20577"/>
          <ac:spMkLst>
            <pc:docMk/>
            <pc:sldMk cId="1962617831" sldId="428"/>
            <ac:spMk id="3" creationId="{F9E6854D-EADD-491C-A7E1-8498573BBFE4}"/>
          </ac:spMkLst>
        </pc:spChg>
        <pc:spChg chg="del">
          <ac:chgData name="Oscar Silva" userId="S::oscar.silva_hundred.com.pe#ext#@belcorpbiz.onmicrosoft.com::6509ea30-3ada-4454-82a9-ec2acf182713" providerId="AD" clId="Web-{E7961986-0BD6-458D-9B2F-3D8640103137}" dt="2019-06-17T18:56:26.545" v="949"/>
          <ac:spMkLst>
            <pc:docMk/>
            <pc:sldMk cId="1962617831" sldId="428"/>
            <ac:spMk id="9" creationId="{87CC2527-562A-4F69-B487-4371E5B243E7}"/>
          </ac:spMkLst>
        </pc:spChg>
        <pc:spChg chg="add">
          <ac:chgData name="Oscar Silva" userId="S::oscar.silva_hundred.com.pe#ext#@belcorpbiz.onmicrosoft.com::6509ea30-3ada-4454-82a9-ec2acf182713" providerId="AD" clId="Web-{E7961986-0BD6-458D-9B2F-3D8640103137}" dt="2019-06-17T18:56:26.545" v="949"/>
          <ac:spMkLst>
            <pc:docMk/>
            <pc:sldMk cId="1962617831" sldId="428"/>
            <ac:spMk id="16" creationId="{87CC2527-562A-4F69-B487-4371E5B243E7}"/>
          </ac:spMkLst>
        </pc:spChg>
        <pc:picChg chg="del">
          <ac:chgData name="Oscar Silva" userId="S::oscar.silva_hundred.com.pe#ext#@belcorpbiz.onmicrosoft.com::6509ea30-3ada-4454-82a9-ec2acf182713" providerId="AD" clId="Web-{E7961986-0BD6-458D-9B2F-3D8640103137}" dt="2019-06-17T18:56:02.592" v="944"/>
          <ac:picMkLst>
            <pc:docMk/>
            <pc:sldMk cId="1962617831" sldId="428"/>
            <ac:picMk id="4" creationId="{F1B46E85-26D2-401C-874B-17842C1123B2}"/>
          </ac:picMkLst>
        </pc:picChg>
        <pc:picChg chg="add mod ord">
          <ac:chgData name="Oscar Silva" userId="S::oscar.silva_hundred.com.pe#ext#@belcorpbiz.onmicrosoft.com::6509ea30-3ada-4454-82a9-ec2acf182713" providerId="AD" clId="Web-{E7961986-0BD6-458D-9B2F-3D8640103137}" dt="2019-06-17T18:56:26.545" v="949"/>
          <ac:picMkLst>
            <pc:docMk/>
            <pc:sldMk cId="1962617831" sldId="428"/>
            <ac:picMk id="5" creationId="{5B0A5450-1CFC-459A-B95E-E073D2236FE7}"/>
          </ac:picMkLst>
        </pc:picChg>
        <pc:cxnChg chg="del">
          <ac:chgData name="Oscar Silva" userId="S::oscar.silva_hundred.com.pe#ext#@belcorpbiz.onmicrosoft.com::6509ea30-3ada-4454-82a9-ec2acf182713" providerId="AD" clId="Web-{E7961986-0BD6-458D-9B2F-3D8640103137}" dt="2019-06-17T18:56:26.545" v="949"/>
          <ac:cxnSpMkLst>
            <pc:docMk/>
            <pc:sldMk cId="1962617831" sldId="428"/>
            <ac:cxnSpMk id="11" creationId="{BCDAEC91-5BCE-4B55-9CC0-43EF94CB734B}"/>
          </ac:cxnSpMkLst>
        </pc:cxnChg>
        <pc:cxnChg chg="add">
          <ac:chgData name="Oscar Silva" userId="S::oscar.silva_hundred.com.pe#ext#@belcorpbiz.onmicrosoft.com::6509ea30-3ada-4454-82a9-ec2acf182713" providerId="AD" clId="Web-{E7961986-0BD6-458D-9B2F-3D8640103137}" dt="2019-06-17T18:56:26.545" v="949"/>
          <ac:cxnSpMkLst>
            <pc:docMk/>
            <pc:sldMk cId="1962617831" sldId="428"/>
            <ac:cxnSpMk id="18" creationId="{BCDAEC91-5BCE-4B55-9CC0-43EF94CB734B}"/>
          </ac:cxnSpMkLst>
        </pc:cxnChg>
      </pc:sldChg>
      <pc:sldChg chg="addSp delSp modSp add replId">
        <pc:chgData name="Oscar Silva" userId="S::oscar.silva_hundred.com.pe#ext#@belcorpbiz.onmicrosoft.com::6509ea30-3ada-4454-82a9-ec2acf182713" providerId="AD" clId="Web-{E7961986-0BD6-458D-9B2F-3D8640103137}" dt="2019-06-17T19:10:04.512" v="1082" actId="20577"/>
        <pc:sldMkLst>
          <pc:docMk/>
          <pc:sldMk cId="3697486356" sldId="429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9:09:44.402" v="1031" actId="20577"/>
          <ac:spMkLst>
            <pc:docMk/>
            <pc:sldMk cId="3697486356" sldId="429"/>
            <ac:spMk id="2" creationId="{9C7E4738-1952-424E-AFE0-FD990EC308B0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9:10:04.512" v="1082" actId="20577"/>
          <ac:spMkLst>
            <pc:docMk/>
            <pc:sldMk cId="3697486356" sldId="429"/>
            <ac:spMk id="3" creationId="{1643E306-05F4-4008-A7F6-169E9044F9A6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9:08:19.432" v="1017"/>
          <ac:spMkLst>
            <pc:docMk/>
            <pc:sldMk cId="3697486356" sldId="429"/>
            <ac:spMk id="5" creationId="{7730C7D7-3C23-41A1-A589-8AC42C53BB15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9:09:32.027" v="1020"/>
          <ac:spMkLst>
            <pc:docMk/>
            <pc:sldMk cId="3697486356" sldId="429"/>
            <ac:spMk id="10" creationId="{29FD2CD5-D629-47F5-8BB4-6E2C7EEC2C3B}"/>
          </ac:spMkLst>
        </pc:spChg>
        <pc:picChg chg="add del mod ord">
          <ac:chgData name="Oscar Silva" userId="S::oscar.silva_hundred.com.pe#ext#@belcorpbiz.onmicrosoft.com::6509ea30-3ada-4454-82a9-ec2acf182713" providerId="AD" clId="Web-{E7961986-0BD6-458D-9B2F-3D8640103137}" dt="2019-06-17T19:08:27.323" v="1019"/>
          <ac:picMkLst>
            <pc:docMk/>
            <pc:sldMk cId="3697486356" sldId="429"/>
            <ac:picMk id="6" creationId="{F5A3C2A2-5779-47AA-9B67-FD2847551183}"/>
          </ac:picMkLst>
        </pc:picChg>
        <pc:picChg chg="add mod ord">
          <ac:chgData name="Oscar Silva" userId="S::oscar.silva_hundred.com.pe#ext#@belcorpbiz.onmicrosoft.com::6509ea30-3ada-4454-82a9-ec2acf182713" providerId="AD" clId="Web-{E7961986-0BD6-458D-9B2F-3D8640103137}" dt="2019-06-17T19:09:36.167" v="1021" actId="1076"/>
          <ac:picMkLst>
            <pc:docMk/>
            <pc:sldMk cId="3697486356" sldId="429"/>
            <ac:picMk id="11" creationId="{08402198-FD4E-4A3B-B8BB-68559C11CACB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9:08:17.619" v="1016"/>
          <ac:picMkLst>
            <pc:docMk/>
            <pc:sldMk cId="3697486356" sldId="429"/>
            <ac:picMk id="13" creationId="{4FEC8E14-3BB9-40FE-B884-4873EC83794F}"/>
          </ac:picMkLst>
        </pc:picChg>
      </pc:sldChg>
      <pc:sldChg chg="addSp delSp modSp add replId">
        <pc:chgData name="Oscar Silva" userId="S::oscar.silva_hundred.com.pe#ext#@belcorpbiz.onmicrosoft.com::6509ea30-3ada-4454-82a9-ec2acf182713" providerId="AD" clId="Web-{E7961986-0BD6-458D-9B2F-3D8640103137}" dt="2019-06-17T19:11:29.154" v="1168" actId="20577"/>
        <pc:sldMkLst>
          <pc:docMk/>
          <pc:sldMk cId="856673717" sldId="430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9:11:17.138" v="1123" actId="20577"/>
          <ac:spMkLst>
            <pc:docMk/>
            <pc:sldMk cId="856673717" sldId="430"/>
            <ac:spMk id="2" creationId="{9C7E4738-1952-424E-AFE0-FD990EC308B0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9:11:29.154" v="1168" actId="20577"/>
          <ac:spMkLst>
            <pc:docMk/>
            <pc:sldMk cId="856673717" sldId="430"/>
            <ac:spMk id="3" creationId="{1643E306-05F4-4008-A7F6-169E9044F9A6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9:10:56.012" v="1087"/>
          <ac:spMkLst>
            <pc:docMk/>
            <pc:sldMk cId="856673717" sldId="430"/>
            <ac:spMk id="5" creationId="{CBCE1682-9CA3-48E2-962A-C58564E48DDB}"/>
          </ac:spMkLst>
        </pc:spChg>
        <pc:picChg chg="add mod ord">
          <ac:chgData name="Oscar Silva" userId="S::oscar.silva_hundred.com.pe#ext#@belcorpbiz.onmicrosoft.com::6509ea30-3ada-4454-82a9-ec2acf182713" providerId="AD" clId="Web-{E7961986-0BD6-458D-9B2F-3D8640103137}" dt="2019-06-17T19:11:00.247" v="1088" actId="1076"/>
          <ac:picMkLst>
            <pc:docMk/>
            <pc:sldMk cId="856673717" sldId="430"/>
            <ac:picMk id="6" creationId="{8F007BB0-C136-47F9-BD03-DC802E089015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9:10:54.059" v="1086"/>
          <ac:picMkLst>
            <pc:docMk/>
            <pc:sldMk cId="856673717" sldId="430"/>
            <ac:picMk id="11" creationId="{08402198-FD4E-4A3B-B8BB-68559C11CACB}"/>
          </ac:picMkLst>
        </pc:picChg>
      </pc:sldChg>
      <pc:sldChg chg="addSp delSp modSp add replId">
        <pc:chgData name="Oscar Silva" userId="S::oscar.silva_hundred.com.pe#ext#@belcorpbiz.onmicrosoft.com::6509ea30-3ada-4454-82a9-ec2acf182713" providerId="AD" clId="Web-{E7961986-0BD6-458D-9B2F-3D8640103137}" dt="2019-06-17T19:15:51.877" v="1269" actId="20577"/>
        <pc:sldMkLst>
          <pc:docMk/>
          <pc:sldMk cId="2912641823" sldId="431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9:15:16.720" v="1198" actId="20577"/>
          <ac:spMkLst>
            <pc:docMk/>
            <pc:sldMk cId="2912641823" sldId="431"/>
            <ac:spMk id="2" creationId="{9C7E4738-1952-424E-AFE0-FD990EC308B0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9:15:51.877" v="1269" actId="20577"/>
          <ac:spMkLst>
            <pc:docMk/>
            <pc:sldMk cId="2912641823" sldId="431"/>
            <ac:spMk id="3" creationId="{1643E306-05F4-4008-A7F6-169E9044F9A6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9:14:46.282" v="1173"/>
          <ac:spMkLst>
            <pc:docMk/>
            <pc:sldMk cId="2912641823" sldId="431"/>
            <ac:spMk id="5" creationId="{9345FF04-19AF-4B72-9C65-15DB8A17E351}"/>
          </ac:spMkLst>
        </pc:spChg>
        <pc:picChg chg="del">
          <ac:chgData name="Oscar Silva" userId="S::oscar.silva_hundred.com.pe#ext#@belcorpbiz.onmicrosoft.com::6509ea30-3ada-4454-82a9-ec2acf182713" providerId="AD" clId="Web-{E7961986-0BD6-458D-9B2F-3D8640103137}" dt="2019-06-17T19:13:39.812" v="1172"/>
          <ac:picMkLst>
            <pc:docMk/>
            <pc:sldMk cId="2912641823" sldId="431"/>
            <ac:picMk id="6" creationId="{8F007BB0-C136-47F9-BD03-DC802E089015}"/>
          </ac:picMkLst>
        </pc:picChg>
        <pc:picChg chg="add mod ord">
          <ac:chgData name="Oscar Silva" userId="S::oscar.silva_hundred.com.pe#ext#@belcorpbiz.onmicrosoft.com::6509ea30-3ada-4454-82a9-ec2acf182713" providerId="AD" clId="Web-{E7961986-0BD6-458D-9B2F-3D8640103137}" dt="2019-06-17T19:14:58.048" v="1176" actId="1076"/>
          <ac:picMkLst>
            <pc:docMk/>
            <pc:sldMk cId="2912641823" sldId="431"/>
            <ac:picMk id="7" creationId="{BFA03FF0-6CBB-473C-B91C-8C2AB7B41196}"/>
          </ac:picMkLst>
        </pc:picChg>
      </pc:sldChg>
      <pc:sldChg chg="addSp delSp modSp add replId">
        <pc:chgData name="Oscar Silva" userId="S::oscar.silva_hundred.com.pe#ext#@belcorpbiz.onmicrosoft.com::6509ea30-3ada-4454-82a9-ec2acf182713" providerId="AD" clId="Web-{E7961986-0BD6-458D-9B2F-3D8640103137}" dt="2019-06-17T19:44:09.613" v="1460"/>
        <pc:sldMkLst>
          <pc:docMk/>
          <pc:sldMk cId="2972283451" sldId="432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9:44:09.613" v="1460"/>
          <ac:spMkLst>
            <pc:docMk/>
            <pc:sldMk cId="2972283451" sldId="432"/>
            <ac:spMk id="2" creationId="{9E599E63-CC8B-44D7-9DE7-B17EB32DC687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9:44:09.613" v="1460"/>
          <ac:spMkLst>
            <pc:docMk/>
            <pc:sldMk cId="2972283451" sldId="432"/>
            <ac:spMk id="3" creationId="{F9E6854D-EADD-491C-A7E1-8498573BBFE4}"/>
          </ac:spMkLst>
        </pc:spChg>
        <pc:spChg chg="del">
          <ac:chgData name="Oscar Silva" userId="S::oscar.silva_hundred.com.pe#ext#@belcorpbiz.onmicrosoft.com::6509ea30-3ada-4454-82a9-ec2acf182713" providerId="AD" clId="Web-{E7961986-0BD6-458D-9B2F-3D8640103137}" dt="2019-06-17T19:44:09.613" v="1460"/>
          <ac:spMkLst>
            <pc:docMk/>
            <pc:sldMk cId="2972283451" sldId="432"/>
            <ac:spMk id="16" creationId="{87CC2527-562A-4F69-B487-4371E5B243E7}"/>
          </ac:spMkLst>
        </pc:spChg>
        <pc:spChg chg="add">
          <ac:chgData name="Oscar Silva" userId="S::oscar.silva_hundred.com.pe#ext#@belcorpbiz.onmicrosoft.com::6509ea30-3ada-4454-82a9-ec2acf182713" providerId="AD" clId="Web-{E7961986-0BD6-458D-9B2F-3D8640103137}" dt="2019-06-17T19:44:09.613" v="1460"/>
          <ac:spMkLst>
            <pc:docMk/>
            <pc:sldMk cId="2972283451" sldId="432"/>
            <ac:spMk id="23" creationId="{87CC2527-562A-4F69-B487-4371E5B243E7}"/>
          </ac:spMkLst>
        </pc:spChg>
        <pc:picChg chg="add mod ord">
          <ac:chgData name="Oscar Silva" userId="S::oscar.silva_hundred.com.pe#ext#@belcorpbiz.onmicrosoft.com::6509ea30-3ada-4454-82a9-ec2acf182713" providerId="AD" clId="Web-{E7961986-0BD6-458D-9B2F-3D8640103137}" dt="2019-06-17T19:44:09.613" v="1460"/>
          <ac:picMkLst>
            <pc:docMk/>
            <pc:sldMk cId="2972283451" sldId="432"/>
            <ac:picMk id="4" creationId="{EF5E89E4-1EEF-4099-8C0E-8364EEA9C86E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9:41:01.721" v="1299"/>
          <ac:picMkLst>
            <pc:docMk/>
            <pc:sldMk cId="2972283451" sldId="432"/>
            <ac:picMk id="5" creationId="{5B0A5450-1CFC-459A-B95E-E073D2236FE7}"/>
          </ac:picMkLst>
        </pc:picChg>
        <pc:cxnChg chg="del">
          <ac:chgData name="Oscar Silva" userId="S::oscar.silva_hundred.com.pe#ext#@belcorpbiz.onmicrosoft.com::6509ea30-3ada-4454-82a9-ec2acf182713" providerId="AD" clId="Web-{E7961986-0BD6-458D-9B2F-3D8640103137}" dt="2019-06-17T19:44:09.613" v="1460"/>
          <ac:cxnSpMkLst>
            <pc:docMk/>
            <pc:sldMk cId="2972283451" sldId="432"/>
            <ac:cxnSpMk id="18" creationId="{BCDAEC91-5BCE-4B55-9CC0-43EF94CB734B}"/>
          </ac:cxnSpMkLst>
        </pc:cxnChg>
        <pc:cxnChg chg="add">
          <ac:chgData name="Oscar Silva" userId="S::oscar.silva_hundred.com.pe#ext#@belcorpbiz.onmicrosoft.com::6509ea30-3ada-4454-82a9-ec2acf182713" providerId="AD" clId="Web-{E7961986-0BD6-458D-9B2F-3D8640103137}" dt="2019-06-17T19:44:09.613" v="1460"/>
          <ac:cxnSpMkLst>
            <pc:docMk/>
            <pc:sldMk cId="2972283451" sldId="432"/>
            <ac:cxnSpMk id="25" creationId="{BCDAEC91-5BCE-4B55-9CC0-43EF94CB734B}"/>
          </ac:cxnSpMkLst>
        </pc:cxnChg>
      </pc:sldChg>
      <pc:sldChg chg="add del replId">
        <pc:chgData name="Oscar Silva" userId="S::oscar.silva_hundred.com.pe#ext#@belcorpbiz.onmicrosoft.com::6509ea30-3ada-4454-82a9-ec2acf182713" providerId="AD" clId="Web-{E7961986-0BD6-458D-9B2F-3D8640103137}" dt="2019-06-17T19:40:31.658" v="1273"/>
        <pc:sldMkLst>
          <pc:docMk/>
          <pc:sldMk cId="3887096784" sldId="432"/>
        </pc:sldMkLst>
      </pc:sldChg>
      <pc:sldChg chg="addSp delSp modSp add replId">
        <pc:chgData name="Oscar Silva" userId="S::oscar.silva_hundred.com.pe#ext#@belcorpbiz.onmicrosoft.com::6509ea30-3ada-4454-82a9-ec2acf182713" providerId="AD" clId="Web-{E7961986-0BD6-458D-9B2F-3D8640103137}" dt="2019-06-17T19:42:07.190" v="1456" actId="20577"/>
        <pc:sldMkLst>
          <pc:docMk/>
          <pc:sldMk cId="272399855" sldId="433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9:41:35.112" v="1308" actId="20577"/>
          <ac:spMkLst>
            <pc:docMk/>
            <pc:sldMk cId="272399855" sldId="433"/>
            <ac:spMk id="2" creationId="{9C7E4738-1952-424E-AFE0-FD990EC308B0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9:42:07.190" v="1456" actId="20577"/>
          <ac:spMkLst>
            <pc:docMk/>
            <pc:sldMk cId="272399855" sldId="433"/>
            <ac:spMk id="3" creationId="{1643E306-05F4-4008-A7F6-169E9044F9A6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9:41:17.237" v="1302"/>
          <ac:spMkLst>
            <pc:docMk/>
            <pc:sldMk cId="272399855" sldId="433"/>
            <ac:spMk id="5" creationId="{FE93F44C-9FCA-4BEF-9F39-66F0B0A312FF}"/>
          </ac:spMkLst>
        </pc:spChg>
        <pc:picChg chg="add mod ord">
          <ac:chgData name="Oscar Silva" userId="S::oscar.silva_hundred.com.pe#ext#@belcorpbiz.onmicrosoft.com::6509ea30-3ada-4454-82a9-ec2acf182713" providerId="AD" clId="Web-{E7961986-0BD6-458D-9B2F-3D8640103137}" dt="2019-06-17T19:41:20.690" v="1303" actId="1076"/>
          <ac:picMkLst>
            <pc:docMk/>
            <pc:sldMk cId="272399855" sldId="433"/>
            <ac:picMk id="6" creationId="{34FE857B-C3DE-42F1-A4E3-CE7C929D6058}"/>
          </ac:picMkLst>
        </pc:picChg>
        <pc:picChg chg="del">
          <ac:chgData name="Oscar Silva" userId="S::oscar.silva_hundred.com.pe#ext#@belcorpbiz.onmicrosoft.com::6509ea30-3ada-4454-82a9-ec2acf182713" providerId="AD" clId="Web-{E7961986-0BD6-458D-9B2F-3D8640103137}" dt="2019-06-17T19:41:11.956" v="1301"/>
          <ac:picMkLst>
            <pc:docMk/>
            <pc:sldMk cId="272399855" sldId="433"/>
            <ac:picMk id="11" creationId="{08402198-FD4E-4A3B-B8BB-68559C11CACB}"/>
          </ac:picMkLst>
        </pc:picChg>
      </pc:sldChg>
      <pc:sldChg chg="addSp delSp modSp add replId">
        <pc:chgData name="Oscar Silva" userId="S::oscar.silva_hundred.com.pe#ext#@belcorpbiz.onmicrosoft.com::6509ea30-3ada-4454-82a9-ec2acf182713" providerId="AD" clId="Web-{E7961986-0BD6-458D-9B2F-3D8640103137}" dt="2019-06-17T19:47:36.927" v="1660" actId="20577"/>
        <pc:sldMkLst>
          <pc:docMk/>
          <pc:sldMk cId="2016761816" sldId="434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19:46:52.551" v="1563" actId="20577"/>
          <ac:spMkLst>
            <pc:docMk/>
            <pc:sldMk cId="2016761816" sldId="434"/>
            <ac:spMk id="2" creationId="{9C7E4738-1952-424E-AFE0-FD990EC308B0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19:47:36.927" v="1660" actId="20577"/>
          <ac:spMkLst>
            <pc:docMk/>
            <pc:sldMk cId="2016761816" sldId="434"/>
            <ac:spMk id="3" creationId="{1643E306-05F4-4008-A7F6-169E9044F9A6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19:46:06.207" v="1463"/>
          <ac:spMkLst>
            <pc:docMk/>
            <pc:sldMk cId="2016761816" sldId="434"/>
            <ac:spMk id="5" creationId="{C94F221B-A157-470D-A685-895507A720FE}"/>
          </ac:spMkLst>
        </pc:spChg>
        <pc:picChg chg="del">
          <ac:chgData name="Oscar Silva" userId="S::oscar.silva_hundred.com.pe#ext#@belcorpbiz.onmicrosoft.com::6509ea30-3ada-4454-82a9-ec2acf182713" providerId="AD" clId="Web-{E7961986-0BD6-458D-9B2F-3D8640103137}" dt="2019-06-17T19:44:21.863" v="1462"/>
          <ac:picMkLst>
            <pc:docMk/>
            <pc:sldMk cId="2016761816" sldId="434"/>
            <ac:picMk id="6" creationId="{34FE857B-C3DE-42F1-A4E3-CE7C929D6058}"/>
          </ac:picMkLst>
        </pc:picChg>
        <pc:picChg chg="add mod ord">
          <ac:chgData name="Oscar Silva" userId="S::oscar.silva_hundred.com.pe#ext#@belcorpbiz.onmicrosoft.com::6509ea30-3ada-4454-82a9-ec2acf182713" providerId="AD" clId="Web-{E7961986-0BD6-458D-9B2F-3D8640103137}" dt="2019-06-17T19:46:12.598" v="1465" actId="14100"/>
          <ac:picMkLst>
            <pc:docMk/>
            <pc:sldMk cId="2016761816" sldId="434"/>
            <ac:picMk id="7" creationId="{A4876341-B4AE-431B-976C-D3E81CE83FC9}"/>
          </ac:picMkLst>
        </pc:picChg>
      </pc:sldChg>
      <pc:sldChg chg="addSp delSp modSp new mod setBg">
        <pc:chgData name="Oscar Silva" userId="S::oscar.silva_hundred.com.pe#ext#@belcorpbiz.onmicrosoft.com::6509ea30-3ada-4454-82a9-ec2acf182713" providerId="AD" clId="Web-{E7961986-0BD6-458D-9B2F-3D8640103137}" dt="2019-06-17T21:12:57.149" v="1969" actId="14100"/>
        <pc:sldMkLst>
          <pc:docMk/>
          <pc:sldMk cId="882450599" sldId="436"/>
        </pc:sldMkLst>
        <pc:spChg chg="mod">
          <ac:chgData name="Oscar Silva" userId="S::oscar.silva_hundred.com.pe#ext#@belcorpbiz.onmicrosoft.com::6509ea30-3ada-4454-82a9-ec2acf182713" providerId="AD" clId="Web-{E7961986-0BD6-458D-9B2F-3D8640103137}" dt="2019-06-17T21:12:27.382" v="1937" actId="20577"/>
          <ac:spMkLst>
            <pc:docMk/>
            <pc:sldMk cId="882450599" sldId="436"/>
            <ac:spMk id="2" creationId="{96D7F4D7-F2A4-4955-85D2-852FFF8F2087}"/>
          </ac:spMkLst>
        </pc:spChg>
        <pc:spChg chg="del">
          <ac:chgData name="Oscar Silva" userId="S::oscar.silva_hundred.com.pe#ext#@belcorpbiz.onmicrosoft.com::6509ea30-3ada-4454-82a9-ec2acf182713" providerId="AD" clId="Web-{E7961986-0BD6-458D-9B2F-3D8640103137}" dt="2019-06-17T21:08:14.919" v="1891"/>
          <ac:spMkLst>
            <pc:docMk/>
            <pc:sldMk cId="882450599" sldId="436"/>
            <ac:spMk id="3" creationId="{0A0B4BE5-C49B-47B2-875E-4A6CD5ED1910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21:12:44.930" v="1965" actId="20577"/>
          <ac:spMkLst>
            <pc:docMk/>
            <pc:sldMk cId="882450599" sldId="436"/>
            <ac:spMk id="4" creationId="{FE2B55D6-C947-4743-A831-9552A17FFABA}"/>
          </ac:spMkLst>
        </pc:spChg>
        <pc:spChg chg="add del mod">
          <ac:chgData name="Oscar Silva" userId="S::oscar.silva_hundred.com.pe#ext#@belcorpbiz.onmicrosoft.com::6509ea30-3ada-4454-82a9-ec2acf182713" providerId="AD" clId="Web-{E7961986-0BD6-458D-9B2F-3D8640103137}" dt="2019-06-17T21:10:36.925" v="1903"/>
          <ac:spMkLst>
            <pc:docMk/>
            <pc:sldMk cId="882450599" sldId="436"/>
            <ac:spMk id="10" creationId="{90A5D560-5A6B-4268-AF4E-4319468B872B}"/>
          </ac:spMkLst>
        </pc:spChg>
        <pc:spChg chg="add">
          <ac:chgData name="Oscar Silva" userId="S::oscar.silva_hundred.com.pe#ext#@belcorpbiz.onmicrosoft.com::6509ea30-3ada-4454-82a9-ec2acf182713" providerId="AD" clId="Web-{E7961986-0BD6-458D-9B2F-3D8640103137}" dt="2019-06-17T21:10:50.159" v="1914"/>
          <ac:spMkLst>
            <pc:docMk/>
            <pc:sldMk cId="882450599" sldId="436"/>
            <ac:spMk id="16" creationId="{87CC2527-562A-4F69-B487-4371E5B243E7}"/>
          </ac:spMkLst>
        </pc:spChg>
        <pc:picChg chg="add del mod ord">
          <ac:chgData name="Oscar Silva" userId="S::oscar.silva_hundred.com.pe#ext#@belcorpbiz.onmicrosoft.com::6509ea30-3ada-4454-82a9-ec2acf182713" providerId="AD" clId="Web-{E7961986-0BD6-458D-9B2F-3D8640103137}" dt="2019-06-17T21:10:16.689" v="1896"/>
          <ac:picMkLst>
            <pc:docMk/>
            <pc:sldMk cId="882450599" sldId="436"/>
            <ac:picMk id="5" creationId="{39944CF6-3EFE-4D3D-B150-1D53D897EA25}"/>
          </ac:picMkLst>
        </pc:picChg>
        <pc:picChg chg="add del mod">
          <ac:chgData name="Oscar Silva" userId="S::oscar.silva_hundred.com.pe#ext#@belcorpbiz.onmicrosoft.com::6509ea30-3ada-4454-82a9-ec2acf182713" providerId="AD" clId="Web-{E7961986-0BD6-458D-9B2F-3D8640103137}" dt="2019-06-17T21:10:35.003" v="1902"/>
          <ac:picMkLst>
            <pc:docMk/>
            <pc:sldMk cId="882450599" sldId="436"/>
            <ac:picMk id="7" creationId="{2822DF30-F00F-46EE-B80C-97B2396585C4}"/>
          </ac:picMkLst>
        </pc:picChg>
        <pc:picChg chg="add mod ord">
          <ac:chgData name="Oscar Silva" userId="S::oscar.silva_hundred.com.pe#ext#@belcorpbiz.onmicrosoft.com::6509ea30-3ada-4454-82a9-ec2acf182713" providerId="AD" clId="Web-{E7961986-0BD6-458D-9B2F-3D8640103137}" dt="2019-06-17T21:10:50.159" v="1914"/>
          <ac:picMkLst>
            <pc:docMk/>
            <pc:sldMk cId="882450599" sldId="436"/>
            <ac:picMk id="11" creationId="{D8BBEAEF-784F-4F84-BA32-464ED70D5530}"/>
          </ac:picMkLst>
        </pc:picChg>
        <pc:picChg chg="add mod">
          <ac:chgData name="Oscar Silva" userId="S::oscar.silva_hundred.com.pe#ext#@belcorpbiz.onmicrosoft.com::6509ea30-3ada-4454-82a9-ec2acf182713" providerId="AD" clId="Web-{E7961986-0BD6-458D-9B2F-3D8640103137}" dt="2019-06-17T21:12:57.149" v="1969" actId="14100"/>
          <ac:picMkLst>
            <pc:docMk/>
            <pc:sldMk cId="882450599" sldId="436"/>
            <ac:picMk id="13" creationId="{53AA138A-AE77-411F-BD39-4007D79C8354}"/>
          </ac:picMkLst>
        </pc:picChg>
        <pc:cxnChg chg="add">
          <ac:chgData name="Oscar Silva" userId="S::oscar.silva_hundred.com.pe#ext#@belcorpbiz.onmicrosoft.com::6509ea30-3ada-4454-82a9-ec2acf182713" providerId="AD" clId="Web-{E7961986-0BD6-458D-9B2F-3D8640103137}" dt="2019-06-17T21:10:50.159" v="1914"/>
          <ac:cxnSpMkLst>
            <pc:docMk/>
            <pc:sldMk cId="882450599" sldId="436"/>
            <ac:cxnSpMk id="18" creationId="{BCDAEC91-5BCE-4B55-9CC0-43EF94CB734B}"/>
          </ac:cxnSpMkLst>
        </pc:cxnChg>
      </pc:sldChg>
      <pc:sldChg chg="addSp delSp modSp new mod setBg">
        <pc:chgData name="Oscar Silva" userId="S::oscar.silva_hundred.com.pe#ext#@belcorpbiz.onmicrosoft.com::6509ea30-3ada-4454-82a9-ec2acf182713" providerId="AD" clId="Web-{E7961986-0BD6-458D-9B2F-3D8640103137}" dt="2019-06-17T21:32:36.877" v="1999" actId="1076"/>
        <pc:sldMkLst>
          <pc:docMk/>
          <pc:sldMk cId="3729698856" sldId="438"/>
        </pc:sldMkLst>
        <pc:spChg chg="mod ord">
          <ac:chgData name="Oscar Silva" userId="S::oscar.silva_hundred.com.pe#ext#@belcorpbiz.onmicrosoft.com::6509ea30-3ada-4454-82a9-ec2acf182713" providerId="AD" clId="Web-{E7961986-0BD6-458D-9B2F-3D8640103137}" dt="2019-06-17T21:31:20.376" v="1984"/>
          <ac:spMkLst>
            <pc:docMk/>
            <pc:sldMk cId="3729698856" sldId="438"/>
            <ac:spMk id="2" creationId="{D42644CD-23AF-4BB2-A778-471727B03090}"/>
          </ac:spMkLst>
        </pc:spChg>
        <pc:spChg chg="del">
          <ac:chgData name="Oscar Silva" userId="S::oscar.silva_hundred.com.pe#ext#@belcorpbiz.onmicrosoft.com::6509ea30-3ada-4454-82a9-ec2acf182713" providerId="AD" clId="Web-{E7961986-0BD6-458D-9B2F-3D8640103137}" dt="2019-06-17T21:31:11.954" v="1971"/>
          <ac:spMkLst>
            <pc:docMk/>
            <pc:sldMk cId="3729698856" sldId="438"/>
            <ac:spMk id="3" creationId="{DE9AA60D-617E-43CE-A947-5875BE45340F}"/>
          </ac:spMkLst>
        </pc:spChg>
        <pc:spChg chg="mod">
          <ac:chgData name="Oscar Silva" userId="S::oscar.silva_hundred.com.pe#ext#@belcorpbiz.onmicrosoft.com::6509ea30-3ada-4454-82a9-ec2acf182713" providerId="AD" clId="Web-{E7961986-0BD6-458D-9B2F-3D8640103137}" dt="2019-06-17T21:31:20.376" v="1984"/>
          <ac:spMkLst>
            <pc:docMk/>
            <pc:sldMk cId="3729698856" sldId="438"/>
            <ac:spMk id="4" creationId="{A5AFA0D9-8324-4DEA-A184-B67B209BEAC4}"/>
          </ac:spMkLst>
        </pc:spChg>
        <pc:spChg chg="add">
          <ac:chgData name="Oscar Silva" userId="S::oscar.silva_hundred.com.pe#ext#@belcorpbiz.onmicrosoft.com::6509ea30-3ada-4454-82a9-ec2acf182713" providerId="AD" clId="Web-{E7961986-0BD6-458D-9B2F-3D8640103137}" dt="2019-06-17T21:31:20.376" v="1984"/>
          <ac:spMkLst>
            <pc:docMk/>
            <pc:sldMk cId="3729698856" sldId="438"/>
            <ac:spMk id="10" creationId="{87CC2527-562A-4F69-B487-4371E5B243E7}"/>
          </ac:spMkLst>
        </pc:spChg>
        <pc:picChg chg="add mod ord">
          <ac:chgData name="Oscar Silva" userId="S::oscar.silva_hundred.com.pe#ext#@belcorpbiz.onmicrosoft.com::6509ea30-3ada-4454-82a9-ec2acf182713" providerId="AD" clId="Web-{E7961986-0BD6-458D-9B2F-3D8640103137}" dt="2019-06-17T21:31:20.376" v="1984"/>
          <ac:picMkLst>
            <pc:docMk/>
            <pc:sldMk cId="3729698856" sldId="438"/>
            <ac:picMk id="5" creationId="{31144072-CDEA-4409-AF55-E21FF015B676}"/>
          </ac:picMkLst>
        </pc:picChg>
        <pc:picChg chg="add mod">
          <ac:chgData name="Oscar Silva" userId="S::oscar.silva_hundred.com.pe#ext#@belcorpbiz.onmicrosoft.com::6509ea30-3ada-4454-82a9-ec2acf182713" providerId="AD" clId="Web-{E7961986-0BD6-458D-9B2F-3D8640103137}" dt="2019-06-17T21:32:36.877" v="1999" actId="1076"/>
          <ac:picMkLst>
            <pc:docMk/>
            <pc:sldMk cId="3729698856" sldId="438"/>
            <ac:picMk id="7" creationId="{C6290405-43C1-4DA8-8038-86AAC081E182}"/>
          </ac:picMkLst>
        </pc:picChg>
        <pc:cxnChg chg="add">
          <ac:chgData name="Oscar Silva" userId="S::oscar.silva_hundred.com.pe#ext#@belcorpbiz.onmicrosoft.com::6509ea30-3ada-4454-82a9-ec2acf182713" providerId="AD" clId="Web-{E7961986-0BD6-458D-9B2F-3D8640103137}" dt="2019-06-17T21:31:20.376" v="1984"/>
          <ac:cxnSpMkLst>
            <pc:docMk/>
            <pc:sldMk cId="3729698856" sldId="438"/>
            <ac:cxnSpMk id="12" creationId="{BCDAEC91-5BCE-4B55-9CC0-43EF94CB734B}"/>
          </ac:cxnSpMkLst>
        </pc:cxnChg>
      </pc:sldChg>
    </pc:docChg>
  </pc:docChgLst>
  <pc:docChgLst>
    <pc:chgData name="Omar Rojas" userId="S::omar.rojas_hundred.com.pe#ext#@belcorpbiz.onmicrosoft.com::c3ef5a6a-094a-4eb5-b410-1ef7bc9be540" providerId="AD" clId="Web-{F8056946-5253-48B6-BCD9-7C8A30631D65}"/>
    <pc:docChg chg="addSld modSld sldOrd">
      <pc:chgData name="Omar Rojas" userId="S::omar.rojas_hundred.com.pe#ext#@belcorpbiz.onmicrosoft.com::c3ef5a6a-094a-4eb5-b410-1ef7bc9be540" providerId="AD" clId="Web-{F8056946-5253-48B6-BCD9-7C8A30631D65}" dt="2019-06-17T16:07:01.378" v="36" actId="20577"/>
      <pc:docMkLst>
        <pc:docMk/>
      </pc:docMkLst>
      <pc:sldChg chg="modSp add ord replId">
        <pc:chgData name="Omar Rojas" userId="S::omar.rojas_hundred.com.pe#ext#@belcorpbiz.onmicrosoft.com::c3ef5a6a-094a-4eb5-b410-1ef7bc9be540" providerId="AD" clId="Web-{F8056946-5253-48B6-BCD9-7C8A30631D65}" dt="2019-06-17T16:06:30.080" v="28" actId="20577"/>
        <pc:sldMkLst>
          <pc:docMk/>
          <pc:sldMk cId="904419021" sldId="406"/>
        </pc:sldMkLst>
        <pc:spChg chg="mod">
          <ac:chgData name="Omar Rojas" userId="S::omar.rojas_hundred.com.pe#ext#@belcorpbiz.onmicrosoft.com::c3ef5a6a-094a-4eb5-b410-1ef7bc9be540" providerId="AD" clId="Web-{F8056946-5253-48B6-BCD9-7C8A30631D65}" dt="2019-06-17T16:06:30.080" v="28" actId="20577"/>
          <ac:spMkLst>
            <pc:docMk/>
            <pc:sldMk cId="904419021" sldId="406"/>
            <ac:spMk id="293" creationId="{00000000-0000-0000-0000-000000000000}"/>
          </ac:spMkLst>
        </pc:spChg>
      </pc:sldChg>
      <pc:sldChg chg="modSp add ord replId">
        <pc:chgData name="Omar Rojas" userId="S::omar.rojas_hundred.com.pe#ext#@belcorpbiz.onmicrosoft.com::c3ef5a6a-094a-4eb5-b410-1ef7bc9be540" providerId="AD" clId="Web-{F8056946-5253-48B6-BCD9-7C8A30631D65}" dt="2019-06-17T16:07:01.378" v="36" actId="20577"/>
        <pc:sldMkLst>
          <pc:docMk/>
          <pc:sldMk cId="549874837" sldId="407"/>
        </pc:sldMkLst>
        <pc:spChg chg="mod">
          <ac:chgData name="Omar Rojas" userId="S::omar.rojas_hundred.com.pe#ext#@belcorpbiz.onmicrosoft.com::c3ef5a6a-094a-4eb5-b410-1ef7bc9be540" providerId="AD" clId="Web-{F8056946-5253-48B6-BCD9-7C8A30631D65}" dt="2019-06-17T16:07:01.378" v="36" actId="20577"/>
          <ac:spMkLst>
            <pc:docMk/>
            <pc:sldMk cId="549874837" sldId="407"/>
            <ac:spMk id="220" creationId="{00000000-0000-0000-0000-000000000000}"/>
          </ac:spMkLst>
        </pc:spChg>
      </pc:sldChg>
    </pc:docChg>
  </pc:docChgLst>
  <pc:docChgLst>
    <pc:chgData name="Oscar Silva" userId="S::oscar.silva_hundred.com.pe#ext#@belcorpbiz.onmicrosoft.com::6509ea30-3ada-4454-82a9-ec2acf182713" providerId="AD" clId="Web-{DC69F080-992A-28E2-2E77-FBC1F698CA20}"/>
    <pc:docChg chg="modSld">
      <pc:chgData name="Oscar Silva" userId="S::oscar.silva_hundred.com.pe#ext#@belcorpbiz.onmicrosoft.com::6509ea30-3ada-4454-82a9-ec2acf182713" providerId="AD" clId="Web-{DC69F080-992A-28E2-2E77-FBC1F698CA20}" dt="2019-06-17T21:34:16.494" v="0"/>
      <pc:docMkLst>
        <pc:docMk/>
      </pc:docMkLst>
      <pc:sldChg chg="modSp">
        <pc:chgData name="Oscar Silva" userId="S::oscar.silva_hundred.com.pe#ext#@belcorpbiz.onmicrosoft.com::6509ea30-3ada-4454-82a9-ec2acf182713" providerId="AD" clId="Web-{DC69F080-992A-28E2-2E77-FBC1F698CA20}" dt="2019-06-17T21:34:16.494" v="0"/>
        <pc:sldMkLst>
          <pc:docMk/>
          <pc:sldMk cId="3729698856" sldId="438"/>
        </pc:sldMkLst>
        <pc:picChg chg="mod">
          <ac:chgData name="Oscar Silva" userId="S::oscar.silva_hundred.com.pe#ext#@belcorpbiz.onmicrosoft.com::6509ea30-3ada-4454-82a9-ec2acf182713" providerId="AD" clId="Web-{DC69F080-992A-28E2-2E77-FBC1F698CA20}" dt="2019-06-17T21:34:16.494" v="0"/>
          <ac:picMkLst>
            <pc:docMk/>
            <pc:sldMk cId="3729698856" sldId="438"/>
            <ac:picMk id="5" creationId="{31144072-CDEA-4409-AF55-E21FF015B676}"/>
          </ac:picMkLst>
        </pc:picChg>
      </pc:sldChg>
    </pc:docChg>
  </pc:docChgLst>
  <pc:docChgLst>
    <pc:chgData name="Omar Rojas" userId="S::omar.rojas_hundred.com.pe#ext#@belcorpbiz.onmicrosoft.com::c3ef5a6a-094a-4eb5-b410-1ef7bc9be540" providerId="AD" clId="Web-{9885B47D-6E1F-4DC3-8768-3A873BCBF756}"/>
    <pc:docChg chg="addSld delSld modSld sldOrd">
      <pc:chgData name="Omar Rojas" userId="S::omar.rojas_hundred.com.pe#ext#@belcorpbiz.onmicrosoft.com::c3ef5a6a-094a-4eb5-b410-1ef7bc9be540" providerId="AD" clId="Web-{9885B47D-6E1F-4DC3-8768-3A873BCBF756}" dt="2019-06-17T21:37:55.975" v="721"/>
      <pc:docMkLst>
        <pc:docMk/>
      </pc:docMkLst>
      <pc:sldChg chg="addSp delSp modSp">
        <pc:chgData name="Omar Rojas" userId="S::omar.rojas_hundred.com.pe#ext#@belcorpbiz.onmicrosoft.com::c3ef5a6a-094a-4eb5-b410-1ef7bc9be540" providerId="AD" clId="Web-{9885B47D-6E1F-4DC3-8768-3A873BCBF756}" dt="2019-06-17T21:11:27.088" v="714"/>
        <pc:sldMkLst>
          <pc:docMk/>
          <pc:sldMk cId="904419021" sldId="406"/>
        </pc:sldMkLst>
        <pc:spChg chg="mod">
          <ac:chgData name="Omar Rojas" userId="S::omar.rojas_hundred.com.pe#ext#@belcorpbiz.onmicrosoft.com::c3ef5a6a-094a-4eb5-b410-1ef7bc9be540" providerId="AD" clId="Web-{9885B47D-6E1F-4DC3-8768-3A873BCBF756}" dt="2019-06-17T21:10:02.864" v="709" actId="20577"/>
          <ac:spMkLst>
            <pc:docMk/>
            <pc:sldMk cId="904419021" sldId="406"/>
            <ac:spMk id="293" creationId="{00000000-0000-0000-0000-000000000000}"/>
          </ac:spMkLst>
        </pc:spChg>
        <pc:picChg chg="add del mod">
          <ac:chgData name="Omar Rojas" userId="S::omar.rojas_hundred.com.pe#ext#@belcorpbiz.onmicrosoft.com::c3ef5a6a-094a-4eb5-b410-1ef7bc9be540" providerId="AD" clId="Web-{9885B47D-6E1F-4DC3-8768-3A873BCBF756}" dt="2019-06-17T21:11:27.088" v="714"/>
          <ac:picMkLst>
            <pc:docMk/>
            <pc:sldMk cId="904419021" sldId="406"/>
            <ac:picMk id="2" creationId="{E0312A4F-1DEC-4001-B4CF-0ADDFE465FC9}"/>
          </ac:picMkLst>
        </pc:picChg>
      </pc:sldChg>
      <pc:sldChg chg="delSp modSp del">
        <pc:chgData name="Omar Rojas" userId="S::omar.rojas_hundred.com.pe#ext#@belcorpbiz.onmicrosoft.com::c3ef5a6a-094a-4eb5-b410-1ef7bc9be540" providerId="AD" clId="Web-{9885B47D-6E1F-4DC3-8768-3A873BCBF756}" dt="2019-06-17T19:30:45.859" v="306"/>
        <pc:sldMkLst>
          <pc:docMk/>
          <pc:sldMk cId="549874837" sldId="407"/>
        </pc:sldMkLst>
        <pc:spChg chg="del">
          <ac:chgData name="Omar Rojas" userId="S::omar.rojas_hundred.com.pe#ext#@belcorpbiz.onmicrosoft.com::c3ef5a6a-094a-4eb5-b410-1ef7bc9be540" providerId="AD" clId="Web-{9885B47D-6E1F-4DC3-8768-3A873BCBF756}" dt="2019-06-17T19:20:08.902" v="105"/>
          <ac:spMkLst>
            <pc:docMk/>
            <pc:sldMk cId="549874837" sldId="407"/>
            <ac:spMk id="3" creationId="{AA011A3A-560B-4AB3-A776-D91AA6A8C46F}"/>
          </ac:spMkLst>
        </pc:spChg>
        <pc:spChg chg="del">
          <ac:chgData name="Omar Rojas" userId="S::omar.rojas_hundred.com.pe#ext#@belcorpbiz.onmicrosoft.com::c3ef5a6a-094a-4eb5-b410-1ef7bc9be540" providerId="AD" clId="Web-{9885B47D-6E1F-4DC3-8768-3A873BCBF756}" dt="2019-06-17T19:20:06.839" v="103"/>
          <ac:spMkLst>
            <pc:docMk/>
            <pc:sldMk cId="549874837" sldId="407"/>
            <ac:spMk id="7" creationId="{501B8B08-DAA7-4054-B5D4-88F7FD6A99DF}"/>
          </ac:spMkLst>
        </pc:spChg>
        <pc:spChg chg="mod">
          <ac:chgData name="Omar Rojas" userId="S::omar.rojas_hundred.com.pe#ext#@belcorpbiz.onmicrosoft.com::c3ef5a6a-094a-4eb5-b410-1ef7bc9be540" providerId="AD" clId="Web-{9885B47D-6E1F-4DC3-8768-3A873BCBF756}" dt="2019-06-17T19:22:30.434" v="145" actId="20577"/>
          <ac:spMkLst>
            <pc:docMk/>
            <pc:sldMk cId="549874837" sldId="407"/>
            <ac:spMk id="8" creationId="{9E1CB566-BFF2-48AF-8FA7-7D4C3CED9ED7}"/>
          </ac:spMkLst>
        </pc:spChg>
        <pc:spChg chg="mod">
          <ac:chgData name="Omar Rojas" userId="S::omar.rojas_hundred.com.pe#ext#@belcorpbiz.onmicrosoft.com::c3ef5a6a-094a-4eb5-b410-1ef7bc9be540" providerId="AD" clId="Web-{9885B47D-6E1F-4DC3-8768-3A873BCBF756}" dt="2019-06-17T19:22:12.934" v="141" actId="1076"/>
          <ac:spMkLst>
            <pc:docMk/>
            <pc:sldMk cId="549874837" sldId="407"/>
            <ac:spMk id="10" creationId="{03FF6A00-95FB-4A1A-886F-2BD101ED4DD6}"/>
          </ac:spMkLst>
        </pc:spChg>
        <pc:spChg chg="mod">
          <ac:chgData name="Omar Rojas" userId="S::omar.rojas_hundred.com.pe#ext#@belcorpbiz.onmicrosoft.com::c3ef5a6a-094a-4eb5-b410-1ef7bc9be540" providerId="AD" clId="Web-{9885B47D-6E1F-4DC3-8768-3A873BCBF756}" dt="2019-06-17T19:22:12.934" v="142" actId="1076"/>
          <ac:spMkLst>
            <pc:docMk/>
            <pc:sldMk cId="549874837" sldId="407"/>
            <ac:spMk id="11" creationId="{4EA9BE61-3B5C-4A9C-8544-A6F8A6D4D29A}"/>
          </ac:spMkLst>
        </pc:spChg>
        <pc:spChg chg="mod">
          <ac:chgData name="Omar Rojas" userId="S::omar.rojas_hundred.com.pe#ext#@belcorpbiz.onmicrosoft.com::c3ef5a6a-094a-4eb5-b410-1ef7bc9be540" providerId="AD" clId="Web-{9885B47D-6E1F-4DC3-8768-3A873BCBF756}" dt="2019-06-17T19:29:10.421" v="282" actId="14100"/>
          <ac:spMkLst>
            <pc:docMk/>
            <pc:sldMk cId="549874837" sldId="407"/>
            <ac:spMk id="19" creationId="{B99CFB41-5272-E441-B74F-EF8325FF79C8}"/>
          </ac:spMkLst>
        </pc:spChg>
        <pc:cxnChg chg="del">
          <ac:chgData name="Omar Rojas" userId="S::omar.rojas_hundred.com.pe#ext#@belcorpbiz.onmicrosoft.com::c3ef5a6a-094a-4eb5-b410-1ef7bc9be540" providerId="AD" clId="Web-{9885B47D-6E1F-4DC3-8768-3A873BCBF756}" dt="2019-06-17T19:20:32.714" v="112"/>
          <ac:cxnSpMkLst>
            <pc:docMk/>
            <pc:sldMk cId="549874837" sldId="407"/>
            <ac:cxnSpMk id="4" creationId="{31759264-7F59-4D70-8FC6-2FB114249C5A}"/>
          </ac:cxnSpMkLst>
        </pc:cxnChg>
      </pc:sldChg>
      <pc:sldChg chg="addSp modSp del">
        <pc:chgData name="Omar Rojas" userId="S::omar.rojas_hundred.com.pe#ext#@belcorpbiz.onmicrosoft.com::c3ef5a6a-094a-4eb5-b410-1ef7bc9be540" providerId="AD" clId="Web-{9885B47D-6E1F-4DC3-8768-3A873BCBF756}" dt="2019-06-17T21:10:54.416" v="710"/>
        <pc:sldMkLst>
          <pc:docMk/>
          <pc:sldMk cId="2944831833" sldId="410"/>
        </pc:sldMkLst>
        <pc:spChg chg="mod">
          <ac:chgData name="Omar Rojas" userId="S::omar.rojas_hundred.com.pe#ext#@belcorpbiz.onmicrosoft.com::c3ef5a6a-094a-4eb5-b410-1ef7bc9be540" providerId="AD" clId="Web-{9885B47D-6E1F-4DC3-8768-3A873BCBF756}" dt="2019-06-17T20:05:48.825" v="540" actId="1076"/>
          <ac:spMkLst>
            <pc:docMk/>
            <pc:sldMk cId="2944831833" sldId="410"/>
            <ac:spMk id="19" creationId="{B99CFB41-5272-E441-B74F-EF8325FF79C8}"/>
          </ac:spMkLst>
        </pc:spChg>
        <pc:picChg chg="add mod">
          <ac:chgData name="Omar Rojas" userId="S::omar.rojas_hundred.com.pe#ext#@belcorpbiz.onmicrosoft.com::c3ef5a6a-094a-4eb5-b410-1ef7bc9be540" providerId="AD" clId="Web-{9885B47D-6E1F-4DC3-8768-3A873BCBF756}" dt="2019-06-17T19:44:25.989" v="319" actId="1076"/>
          <ac:picMkLst>
            <pc:docMk/>
            <pc:sldMk cId="2944831833" sldId="410"/>
            <ac:picMk id="2" creationId="{44FEBEBD-FDAC-4274-9437-C2EEFA36F836}"/>
          </ac:picMkLst>
        </pc:picChg>
      </pc:sldChg>
      <pc:sldChg chg="del">
        <pc:chgData name="Omar Rojas" userId="S::omar.rojas_hundred.com.pe#ext#@belcorpbiz.onmicrosoft.com::c3ef5a6a-094a-4eb5-b410-1ef7bc9be540" providerId="AD" clId="Web-{9885B47D-6E1F-4DC3-8768-3A873BCBF756}" dt="2019-06-17T21:12:44.526" v="715"/>
        <pc:sldMkLst>
          <pc:docMk/>
          <pc:sldMk cId="612733769" sldId="414"/>
        </pc:sldMkLst>
      </pc:sldChg>
      <pc:sldChg chg="addSp modSp">
        <pc:chgData name="Omar Rojas" userId="S::omar.rojas_hundred.com.pe#ext#@belcorpbiz.onmicrosoft.com::c3ef5a6a-094a-4eb5-b410-1ef7bc9be540" providerId="AD" clId="Web-{9885B47D-6E1F-4DC3-8768-3A873BCBF756}" dt="2019-06-17T20:31:17.053" v="588"/>
        <pc:sldMkLst>
          <pc:docMk/>
          <pc:sldMk cId="2202346401" sldId="415"/>
        </pc:sldMkLst>
        <pc:spChg chg="mod">
          <ac:chgData name="Omar Rojas" userId="S::omar.rojas_hundred.com.pe#ext#@belcorpbiz.onmicrosoft.com::c3ef5a6a-094a-4eb5-b410-1ef7bc9be540" providerId="AD" clId="Web-{9885B47D-6E1F-4DC3-8768-3A873BCBF756}" dt="2019-06-17T19:46:38.740" v="335" actId="1076"/>
          <ac:spMkLst>
            <pc:docMk/>
            <pc:sldMk cId="2202346401" sldId="415"/>
            <ac:spMk id="2" creationId="{6D9F2282-E4BC-4922-91A2-B7ECB64D89EE}"/>
          </ac:spMkLst>
        </pc:spChg>
        <pc:graphicFrameChg chg="mod modGraphic">
          <ac:chgData name="Omar Rojas" userId="S::omar.rojas_hundred.com.pe#ext#@belcorpbiz.onmicrosoft.com::c3ef5a6a-094a-4eb5-b410-1ef7bc9be540" providerId="AD" clId="Web-{9885B47D-6E1F-4DC3-8768-3A873BCBF756}" dt="2019-06-17T20:31:17.053" v="588"/>
          <ac:graphicFrameMkLst>
            <pc:docMk/>
            <pc:sldMk cId="2202346401" sldId="415"/>
            <ac:graphicFrameMk id="11" creationId="{87CEF300-7200-49F1-AFAB-5CA57E3F38F2}"/>
          </ac:graphicFrameMkLst>
        </pc:graphicFrameChg>
        <pc:picChg chg="add mod">
          <ac:chgData name="Omar Rojas" userId="S::omar.rojas_hundred.com.pe#ext#@belcorpbiz.onmicrosoft.com::c3ef5a6a-094a-4eb5-b410-1ef7bc9be540" providerId="AD" clId="Web-{9885B47D-6E1F-4DC3-8768-3A873BCBF756}" dt="2019-06-17T19:43:40.926" v="315" actId="1076"/>
          <ac:picMkLst>
            <pc:docMk/>
            <pc:sldMk cId="2202346401" sldId="415"/>
            <ac:picMk id="3" creationId="{266D8EF3-3FC0-4749-95AA-8713E7BC4B9B}"/>
          </ac:picMkLst>
        </pc:picChg>
        <pc:picChg chg="mod">
          <ac:chgData name="Omar Rojas" userId="S::omar.rojas_hundred.com.pe#ext#@belcorpbiz.onmicrosoft.com::c3ef5a6a-094a-4eb5-b410-1ef7bc9be540" providerId="AD" clId="Web-{9885B47D-6E1F-4DC3-8768-3A873BCBF756}" dt="2019-06-17T19:46:46.224" v="336" actId="1076"/>
          <ac:picMkLst>
            <pc:docMk/>
            <pc:sldMk cId="2202346401" sldId="415"/>
            <ac:picMk id="6" creationId="{D87A1F7C-0150-405F-9E55-BA978F7CC15B}"/>
          </ac:picMkLst>
        </pc:picChg>
      </pc:sldChg>
      <pc:sldChg chg="del">
        <pc:chgData name="Omar Rojas" userId="S::omar.rojas_hundred.com.pe#ext#@belcorpbiz.onmicrosoft.com::c3ef5a6a-094a-4eb5-b410-1ef7bc9be540" providerId="AD" clId="Web-{9885B47D-6E1F-4DC3-8768-3A873BCBF756}" dt="2019-06-17T19:18:10.198" v="78"/>
        <pc:sldMkLst>
          <pc:docMk/>
          <pc:sldMk cId="3366836123" sldId="419"/>
        </pc:sldMkLst>
      </pc:sldChg>
      <pc:sldChg chg="addSp modSp">
        <pc:chgData name="Omar Rojas" userId="S::omar.rojas_hundred.com.pe#ext#@belcorpbiz.onmicrosoft.com::c3ef5a6a-094a-4eb5-b410-1ef7bc9be540" providerId="AD" clId="Web-{9885B47D-6E1F-4DC3-8768-3A873BCBF756}" dt="2019-06-17T20:35:34.086" v="630"/>
        <pc:sldMkLst>
          <pc:docMk/>
          <pc:sldMk cId="798763300" sldId="422"/>
        </pc:sldMkLst>
        <pc:spChg chg="add mod">
          <ac:chgData name="Omar Rojas" userId="S::omar.rojas_hundred.com.pe#ext#@belcorpbiz.onmicrosoft.com::c3ef5a6a-094a-4eb5-b410-1ef7bc9be540" providerId="AD" clId="Web-{9885B47D-6E1F-4DC3-8768-3A873BCBF756}" dt="2019-06-17T19:17:53.652" v="75" actId="1076"/>
          <ac:spMkLst>
            <pc:docMk/>
            <pc:sldMk cId="798763300" sldId="422"/>
            <ac:spMk id="2" creationId="{18EC9A2C-171F-4C8B-888D-EFABD6E249BE}"/>
          </ac:spMkLst>
        </pc:spChg>
        <pc:spChg chg="mod">
          <ac:chgData name="Omar Rojas" userId="S::omar.rojas_hundred.com.pe#ext#@belcorpbiz.onmicrosoft.com::c3ef5a6a-094a-4eb5-b410-1ef7bc9be540" providerId="AD" clId="Web-{9885B47D-6E1F-4DC3-8768-3A873BCBF756}" dt="2019-06-17T19:17:52.338" v="74" actId="14100"/>
          <ac:spMkLst>
            <pc:docMk/>
            <pc:sldMk cId="798763300" sldId="422"/>
            <ac:spMk id="5" creationId="{9DBE9DF1-BF0A-4655-9638-0A8B5FD6120B}"/>
          </ac:spMkLst>
        </pc:spChg>
        <pc:spChg chg="mod">
          <ac:chgData name="Omar Rojas" userId="S::omar.rojas_hundred.com.pe#ext#@belcorpbiz.onmicrosoft.com::c3ef5a6a-094a-4eb5-b410-1ef7bc9be540" providerId="AD" clId="Web-{9885B47D-6E1F-4DC3-8768-3A873BCBF756}" dt="2019-06-17T19:15:05.509" v="23" actId="20577"/>
          <ac:spMkLst>
            <pc:docMk/>
            <pc:sldMk cId="798763300" sldId="422"/>
            <ac:spMk id="220" creationId="{00000000-0000-0000-0000-000000000000}"/>
          </ac:spMkLst>
        </pc:spChg>
        <pc:graphicFrameChg chg="mod modGraphic">
          <ac:chgData name="Omar Rojas" userId="S::omar.rojas_hundred.com.pe#ext#@belcorpbiz.onmicrosoft.com::c3ef5a6a-094a-4eb5-b410-1ef7bc9be540" providerId="AD" clId="Web-{9885B47D-6E1F-4DC3-8768-3A873BCBF756}" dt="2019-06-17T20:35:34.086" v="630"/>
          <ac:graphicFrameMkLst>
            <pc:docMk/>
            <pc:sldMk cId="798763300" sldId="422"/>
            <ac:graphicFrameMk id="11" creationId="{87CEF300-7200-49F1-AFAB-5CA57E3F38F2}"/>
          </ac:graphicFrameMkLst>
        </pc:graphicFrameChg>
        <pc:picChg chg="add">
          <ac:chgData name="Omar Rojas" userId="S::omar.rojas_hundred.com.pe#ext#@belcorpbiz.onmicrosoft.com::c3ef5a6a-094a-4eb5-b410-1ef7bc9be540" providerId="AD" clId="Web-{9885B47D-6E1F-4DC3-8768-3A873BCBF756}" dt="2019-06-17T19:43:49.020" v="316"/>
          <ac:picMkLst>
            <pc:docMk/>
            <pc:sldMk cId="798763300" sldId="422"/>
            <ac:picMk id="3" creationId="{59164D49-6954-4AC5-995A-E703FC39F8D2}"/>
          </ac:picMkLst>
        </pc:picChg>
        <pc:picChg chg="mod">
          <ac:chgData name="Omar Rojas" userId="S::omar.rojas_hundred.com.pe#ext#@belcorpbiz.onmicrosoft.com::c3ef5a6a-094a-4eb5-b410-1ef7bc9be540" providerId="AD" clId="Web-{9885B47D-6E1F-4DC3-8768-3A873BCBF756}" dt="2019-06-17T19:18:03.323" v="77" actId="1076"/>
          <ac:picMkLst>
            <pc:docMk/>
            <pc:sldMk cId="798763300" sldId="422"/>
            <ac:picMk id="6" creationId="{F8B526E7-EC7D-4A05-88CF-1CFBBEEC66F4}"/>
          </ac:picMkLst>
        </pc:picChg>
      </pc:sldChg>
      <pc:sldChg chg="addSp delSp modSp">
        <pc:chgData name="Omar Rojas" userId="S::omar.rojas_hundred.com.pe#ext#@belcorpbiz.onmicrosoft.com::c3ef5a6a-094a-4eb5-b410-1ef7bc9be540" providerId="AD" clId="Web-{9885B47D-6E1F-4DC3-8768-3A873BCBF756}" dt="2019-06-17T20:49:10.388" v="662" actId="20577"/>
        <pc:sldMkLst>
          <pc:docMk/>
          <pc:sldMk cId="442502169" sldId="424"/>
        </pc:sldMkLst>
        <pc:spChg chg="add del mod">
          <ac:chgData name="Omar Rojas" userId="S::omar.rojas_hundred.com.pe#ext#@belcorpbiz.onmicrosoft.com::c3ef5a6a-094a-4eb5-b410-1ef7bc9be540" providerId="AD" clId="Web-{9885B47D-6E1F-4DC3-8768-3A873BCBF756}" dt="2019-06-17T19:29:41.952" v="289"/>
          <ac:spMkLst>
            <pc:docMk/>
            <pc:sldMk cId="442502169" sldId="424"/>
            <ac:spMk id="2" creationId="{69924F83-BC01-4A7A-89EB-446F3BF43EC9}"/>
          </ac:spMkLst>
        </pc:spChg>
        <pc:spChg chg="del mod">
          <ac:chgData name="Omar Rojas" userId="S::omar.rojas_hundred.com.pe#ext#@belcorpbiz.onmicrosoft.com::c3ef5a6a-094a-4eb5-b410-1ef7bc9be540" providerId="AD" clId="Web-{9885B47D-6E1F-4DC3-8768-3A873BCBF756}" dt="2019-06-17T19:29:42.671" v="291"/>
          <ac:spMkLst>
            <pc:docMk/>
            <pc:sldMk cId="442502169" sldId="424"/>
            <ac:spMk id="3" creationId="{AA011A3A-560B-4AB3-A776-D91AA6A8C46F}"/>
          </ac:spMkLst>
        </pc:spChg>
        <pc:spChg chg="add mod">
          <ac:chgData name="Omar Rojas" userId="S::omar.rojas_hundred.com.pe#ext#@belcorpbiz.onmicrosoft.com::c3ef5a6a-094a-4eb5-b410-1ef7bc9be540" providerId="AD" clId="Web-{9885B47D-6E1F-4DC3-8768-3A873BCBF756}" dt="2019-06-17T20:48:11.919" v="631" actId="1076"/>
          <ac:spMkLst>
            <pc:docMk/>
            <pc:sldMk cId="442502169" sldId="424"/>
            <ac:spMk id="5" creationId="{C0C696C7-0AF0-4199-8711-AF82FD337318}"/>
          </ac:spMkLst>
        </pc:spChg>
        <pc:spChg chg="del mod">
          <ac:chgData name="Omar Rojas" userId="S::omar.rojas_hundred.com.pe#ext#@belcorpbiz.onmicrosoft.com::c3ef5a6a-094a-4eb5-b410-1ef7bc9be540" providerId="AD" clId="Web-{9885B47D-6E1F-4DC3-8768-3A873BCBF756}" dt="2019-06-17T19:29:42.062" v="290"/>
          <ac:spMkLst>
            <pc:docMk/>
            <pc:sldMk cId="442502169" sldId="424"/>
            <ac:spMk id="7" creationId="{501B8B08-DAA7-4054-B5D4-88F7FD6A99DF}"/>
          </ac:spMkLst>
        </pc:spChg>
        <pc:spChg chg="mod">
          <ac:chgData name="Omar Rojas" userId="S::omar.rojas_hundred.com.pe#ext#@belcorpbiz.onmicrosoft.com::c3ef5a6a-094a-4eb5-b410-1ef7bc9be540" providerId="AD" clId="Web-{9885B47D-6E1F-4DC3-8768-3A873BCBF756}" dt="2019-06-17T19:31:22.937" v="308" actId="20577"/>
          <ac:spMkLst>
            <pc:docMk/>
            <pc:sldMk cId="442502169" sldId="424"/>
            <ac:spMk id="8" creationId="{9E1CB566-BFF2-48AF-8FA7-7D4C3CED9ED7}"/>
          </ac:spMkLst>
        </pc:spChg>
        <pc:spChg chg="del mod">
          <ac:chgData name="Omar Rojas" userId="S::omar.rojas_hundred.com.pe#ext#@belcorpbiz.onmicrosoft.com::c3ef5a6a-094a-4eb5-b410-1ef7bc9be540" providerId="AD" clId="Web-{9885B47D-6E1F-4DC3-8768-3A873BCBF756}" dt="2019-06-17T19:26:22.623" v="236"/>
          <ac:spMkLst>
            <pc:docMk/>
            <pc:sldMk cId="442502169" sldId="424"/>
            <ac:spMk id="10" creationId="{03FF6A00-95FB-4A1A-886F-2BD101ED4DD6}"/>
          </ac:spMkLst>
        </pc:spChg>
        <pc:spChg chg="del mod">
          <ac:chgData name="Omar Rojas" userId="S::omar.rojas_hundred.com.pe#ext#@belcorpbiz.onmicrosoft.com::c3ef5a6a-094a-4eb5-b410-1ef7bc9be540" providerId="AD" clId="Web-{9885B47D-6E1F-4DC3-8768-3A873BCBF756}" dt="2019-06-17T19:26:21.826" v="235"/>
          <ac:spMkLst>
            <pc:docMk/>
            <pc:sldMk cId="442502169" sldId="424"/>
            <ac:spMk id="11" creationId="{4EA9BE61-3B5C-4A9C-8544-A6F8A6D4D29A}"/>
          </ac:spMkLst>
        </pc:spChg>
        <pc:spChg chg="add del mod">
          <ac:chgData name="Omar Rojas" userId="S::omar.rojas_hundred.com.pe#ext#@belcorpbiz.onmicrosoft.com::c3ef5a6a-094a-4eb5-b410-1ef7bc9be540" providerId="AD" clId="Web-{9885B47D-6E1F-4DC3-8768-3A873BCBF756}" dt="2019-06-17T19:27:57.061" v="281"/>
          <ac:spMkLst>
            <pc:docMk/>
            <pc:sldMk cId="442502169" sldId="424"/>
            <ac:spMk id="12" creationId="{2135DC3B-D6EA-43E7-893C-B7861FFB6097}"/>
          </ac:spMkLst>
        </pc:spChg>
        <pc:spChg chg="add mod">
          <ac:chgData name="Omar Rojas" userId="S::omar.rojas_hundred.com.pe#ext#@belcorpbiz.onmicrosoft.com::c3ef5a6a-094a-4eb5-b410-1ef7bc9be540" providerId="AD" clId="Web-{9885B47D-6E1F-4DC3-8768-3A873BCBF756}" dt="2019-06-17T20:49:10.388" v="662" actId="20577"/>
          <ac:spMkLst>
            <pc:docMk/>
            <pc:sldMk cId="442502169" sldId="424"/>
            <ac:spMk id="17" creationId="{7B7E3D3B-B55E-40B0-933D-D1BD3DEEED10}"/>
          </ac:spMkLst>
        </pc:spChg>
        <pc:spChg chg="mod">
          <ac:chgData name="Omar Rojas" userId="S::omar.rojas_hundred.com.pe#ext#@belcorpbiz.onmicrosoft.com::c3ef5a6a-094a-4eb5-b410-1ef7bc9be540" providerId="AD" clId="Web-{9885B47D-6E1F-4DC3-8768-3A873BCBF756}" dt="2019-06-17T20:48:16.013" v="633" actId="1076"/>
          <ac:spMkLst>
            <pc:docMk/>
            <pc:sldMk cId="442502169" sldId="424"/>
            <ac:spMk id="19" creationId="{B99CFB41-5272-E441-B74F-EF8325FF79C8}"/>
          </ac:spMkLst>
        </pc:spChg>
        <pc:picChg chg="add mod">
          <ac:chgData name="Omar Rojas" userId="S::omar.rojas_hundred.com.pe#ext#@belcorpbiz.onmicrosoft.com::c3ef5a6a-094a-4eb5-b410-1ef7bc9be540" providerId="AD" clId="Web-{9885B47D-6E1F-4DC3-8768-3A873BCBF756}" dt="2019-06-17T19:41:00.347" v="312" actId="1076"/>
          <ac:picMkLst>
            <pc:docMk/>
            <pc:sldMk cId="442502169" sldId="424"/>
            <ac:picMk id="6" creationId="{55B583C6-5A88-486C-8E7E-182D78B86648}"/>
          </ac:picMkLst>
        </pc:picChg>
        <pc:cxnChg chg="del">
          <ac:chgData name="Omar Rojas" userId="S::omar.rojas_hundred.com.pe#ext#@belcorpbiz.onmicrosoft.com::c3ef5a6a-094a-4eb5-b410-1ef7bc9be540" providerId="AD" clId="Web-{9885B47D-6E1F-4DC3-8768-3A873BCBF756}" dt="2019-06-17T19:23:03.262" v="153"/>
          <ac:cxnSpMkLst>
            <pc:docMk/>
            <pc:sldMk cId="442502169" sldId="424"/>
            <ac:cxnSpMk id="4" creationId="{31759264-7F59-4D70-8FC6-2FB114249C5A}"/>
          </ac:cxnSpMkLst>
        </pc:cxnChg>
      </pc:sldChg>
      <pc:sldChg chg="addSp modSp ord">
        <pc:chgData name="Omar Rojas" userId="S::omar.rojas_hundred.com.pe#ext#@belcorpbiz.onmicrosoft.com::c3ef5a6a-094a-4eb5-b410-1ef7bc9be540" providerId="AD" clId="Web-{9885B47D-6E1F-4DC3-8768-3A873BCBF756}" dt="2019-06-17T21:32:57.893" v="720" actId="20577"/>
        <pc:sldMkLst>
          <pc:docMk/>
          <pc:sldMk cId="3489510354" sldId="425"/>
        </pc:sldMkLst>
        <pc:spChg chg="mod">
          <ac:chgData name="Omar Rojas" userId="S::omar.rojas_hundred.com.pe#ext#@belcorpbiz.onmicrosoft.com::c3ef5a6a-094a-4eb5-b410-1ef7bc9be540" providerId="AD" clId="Web-{9885B47D-6E1F-4DC3-8768-3A873BCBF756}" dt="2019-06-17T21:32:57.893" v="720" actId="20577"/>
          <ac:spMkLst>
            <pc:docMk/>
            <pc:sldMk cId="3489510354" sldId="425"/>
            <ac:spMk id="7" creationId="{E6943C90-F9DE-4531-84E9-1642E654DC12}"/>
          </ac:spMkLst>
        </pc:spChg>
        <pc:spChg chg="mod">
          <ac:chgData name="Omar Rojas" userId="S::omar.rojas_hundred.com.pe#ext#@belcorpbiz.onmicrosoft.com::c3ef5a6a-094a-4eb5-b410-1ef7bc9be540" providerId="AD" clId="Web-{9885B47D-6E1F-4DC3-8768-3A873BCBF756}" dt="2019-06-17T21:32:52.082" v="718" actId="20577"/>
          <ac:spMkLst>
            <pc:docMk/>
            <pc:sldMk cId="3489510354" sldId="425"/>
            <ac:spMk id="19" creationId="{B99CFB41-5272-E441-B74F-EF8325FF79C8}"/>
          </ac:spMkLst>
        </pc:spChg>
        <pc:picChg chg="add mod">
          <ac:chgData name="Omar Rojas" userId="S::omar.rojas_hundred.com.pe#ext#@belcorpbiz.onmicrosoft.com::c3ef5a6a-094a-4eb5-b410-1ef7bc9be540" providerId="AD" clId="Web-{9885B47D-6E1F-4DC3-8768-3A873BCBF756}" dt="2019-06-17T19:44:48.192" v="323" actId="1076"/>
          <ac:picMkLst>
            <pc:docMk/>
            <pc:sldMk cId="3489510354" sldId="425"/>
            <ac:picMk id="3" creationId="{6D866C21-4170-4C99-8BD2-AD542C7598C3}"/>
          </ac:picMkLst>
        </pc:picChg>
      </pc:sldChg>
      <pc:sldChg chg="addSp modSp ord">
        <pc:chgData name="Omar Rojas" userId="S::omar.rojas_hundred.com.pe#ext#@belcorpbiz.onmicrosoft.com::c3ef5a6a-094a-4eb5-b410-1ef7bc9be540" providerId="AD" clId="Web-{9885B47D-6E1F-4DC3-8768-3A873BCBF756}" dt="2019-06-17T21:08:36.661" v="673"/>
        <pc:sldMkLst>
          <pc:docMk/>
          <pc:sldMk cId="2216389054" sldId="426"/>
        </pc:sldMkLst>
        <pc:spChg chg="mod">
          <ac:chgData name="Omar Rojas" userId="S::omar.rojas_hundred.com.pe#ext#@belcorpbiz.onmicrosoft.com::c3ef5a6a-094a-4eb5-b410-1ef7bc9be540" providerId="AD" clId="Web-{9885B47D-6E1F-4DC3-8768-3A873BCBF756}" dt="2019-06-17T20:16:59.142" v="543" actId="20577"/>
          <ac:spMkLst>
            <pc:docMk/>
            <pc:sldMk cId="2216389054" sldId="426"/>
            <ac:spMk id="19" creationId="{B99CFB41-5272-E441-B74F-EF8325FF79C8}"/>
          </ac:spMkLst>
        </pc:spChg>
        <pc:picChg chg="add">
          <ac:chgData name="Omar Rojas" userId="S::omar.rojas_hundred.com.pe#ext#@belcorpbiz.onmicrosoft.com::c3ef5a6a-094a-4eb5-b410-1ef7bc9be540" providerId="AD" clId="Web-{9885B47D-6E1F-4DC3-8768-3A873BCBF756}" dt="2019-06-17T19:44:56.317" v="324"/>
          <ac:picMkLst>
            <pc:docMk/>
            <pc:sldMk cId="2216389054" sldId="426"/>
            <ac:picMk id="2" creationId="{6B0208D5-31B2-4C51-BECE-3B1EF7FCC7E6}"/>
          </ac:picMkLst>
        </pc:picChg>
      </pc:sldChg>
      <pc:sldChg chg="addSp delSp modSp add ord replId">
        <pc:chgData name="Omar Rojas" userId="S::omar.rojas_hundred.com.pe#ext#@belcorpbiz.onmicrosoft.com::c3ef5a6a-094a-4eb5-b410-1ef7bc9be540" providerId="AD" clId="Web-{9885B47D-6E1F-4DC3-8768-3A873BCBF756}" dt="2019-06-17T21:08:36.661" v="672"/>
        <pc:sldMkLst>
          <pc:docMk/>
          <pc:sldMk cId="2203034107" sldId="435"/>
        </pc:sldMkLst>
        <pc:spChg chg="del mod">
          <ac:chgData name="Omar Rojas" userId="S::omar.rojas_hundred.com.pe#ext#@belcorpbiz.onmicrosoft.com::c3ef5a6a-094a-4eb5-b410-1ef7bc9be540" providerId="AD" clId="Web-{9885B47D-6E1F-4DC3-8768-3A873BCBF756}" dt="2019-06-17T19:59:46.682" v="457"/>
          <ac:spMkLst>
            <pc:docMk/>
            <pc:sldMk cId="2203034107" sldId="435"/>
            <ac:spMk id="7" creationId="{E6943C90-F9DE-4531-84E9-1642E654DC12}"/>
          </ac:spMkLst>
        </pc:spChg>
        <pc:spChg chg="mod">
          <ac:chgData name="Omar Rojas" userId="S::omar.rojas_hundred.com.pe#ext#@belcorpbiz.onmicrosoft.com::c3ef5a6a-094a-4eb5-b410-1ef7bc9be540" providerId="AD" clId="Web-{9885B47D-6E1F-4DC3-8768-3A873BCBF756}" dt="2019-06-17T20:05:08.856" v="534" actId="20577"/>
          <ac:spMkLst>
            <pc:docMk/>
            <pc:sldMk cId="2203034107" sldId="435"/>
            <ac:spMk id="19" creationId="{B99CFB41-5272-E441-B74F-EF8325FF79C8}"/>
          </ac:spMkLst>
        </pc:spChg>
        <pc:spChg chg="mod">
          <ac:chgData name="Omar Rojas" userId="S::omar.rojas_hundred.com.pe#ext#@belcorpbiz.onmicrosoft.com::c3ef5a6a-094a-4eb5-b410-1ef7bc9be540" providerId="AD" clId="Web-{9885B47D-6E1F-4DC3-8768-3A873BCBF756}" dt="2019-06-17T19:52:50.570" v="341" actId="20577"/>
          <ac:spMkLst>
            <pc:docMk/>
            <pc:sldMk cId="2203034107" sldId="435"/>
            <ac:spMk id="220" creationId="{00000000-0000-0000-0000-000000000000}"/>
          </ac:spMkLst>
        </pc:spChg>
        <pc:picChg chg="del">
          <ac:chgData name="Omar Rojas" userId="S::omar.rojas_hundred.com.pe#ext#@belcorpbiz.onmicrosoft.com::c3ef5a6a-094a-4eb5-b410-1ef7bc9be540" providerId="AD" clId="Web-{9885B47D-6E1F-4DC3-8768-3A873BCBF756}" dt="2019-06-17T19:57:39.603" v="414"/>
          <ac:picMkLst>
            <pc:docMk/>
            <pc:sldMk cId="2203034107" sldId="435"/>
            <ac:picMk id="2" creationId="{45322725-2FC8-4934-BAAC-EB7F7F8CDB3B}"/>
          </ac:picMkLst>
        </pc:picChg>
        <pc:picChg chg="del">
          <ac:chgData name="Omar Rojas" userId="S::omar.rojas_hundred.com.pe#ext#@belcorpbiz.onmicrosoft.com::c3ef5a6a-094a-4eb5-b410-1ef7bc9be540" providerId="AD" clId="Web-{9885B47D-6E1F-4DC3-8768-3A873BCBF756}" dt="2019-06-17T19:54:20.508" v="345"/>
          <ac:picMkLst>
            <pc:docMk/>
            <pc:sldMk cId="2203034107" sldId="435"/>
            <ac:picMk id="3" creationId="{6D866C21-4170-4C99-8BD2-AD542C7598C3}"/>
          </ac:picMkLst>
        </pc:picChg>
        <pc:picChg chg="add del mod">
          <ac:chgData name="Omar Rojas" userId="S::omar.rojas_hundred.com.pe#ext#@belcorpbiz.onmicrosoft.com::c3ef5a6a-094a-4eb5-b410-1ef7bc9be540" providerId="AD" clId="Web-{9885B47D-6E1F-4DC3-8768-3A873BCBF756}" dt="2019-06-17T19:54:57.838" v="351"/>
          <ac:picMkLst>
            <pc:docMk/>
            <pc:sldMk cId="2203034107" sldId="435"/>
            <ac:picMk id="4" creationId="{9133E79D-E9A8-49A7-9B35-DF5A3A75CABE}"/>
          </ac:picMkLst>
        </pc:picChg>
        <pc:picChg chg="add mod">
          <ac:chgData name="Omar Rojas" userId="S::omar.rojas_hundred.com.pe#ext#@belcorpbiz.onmicrosoft.com::c3ef5a6a-094a-4eb5-b410-1ef7bc9be540" providerId="AD" clId="Web-{9885B47D-6E1F-4DC3-8768-3A873BCBF756}" dt="2019-06-17T19:55:19.712" v="366" actId="1076"/>
          <ac:picMkLst>
            <pc:docMk/>
            <pc:sldMk cId="2203034107" sldId="435"/>
            <ac:picMk id="6" creationId="{81356848-627B-4321-B997-911994AB97C0}"/>
          </ac:picMkLst>
        </pc:picChg>
      </pc:sldChg>
      <pc:sldChg chg="add ord replId">
        <pc:chgData name="Omar Rojas" userId="S::omar.rojas_hundred.com.pe#ext#@belcorpbiz.onmicrosoft.com::c3ef5a6a-094a-4eb5-b410-1ef7bc9be540" providerId="AD" clId="Web-{9885B47D-6E1F-4DC3-8768-3A873BCBF756}" dt="2019-06-17T21:09:27.192" v="694"/>
        <pc:sldMkLst>
          <pc:docMk/>
          <pc:sldMk cId="2894021050" sldId="437"/>
        </pc:sldMkLst>
      </pc:sldChg>
      <pc:sldChg chg="ord">
        <pc:chgData name="Omar Rojas" userId="S::omar.rojas_hundred.com.pe#ext#@belcorpbiz.onmicrosoft.com::c3ef5a6a-094a-4eb5-b410-1ef7bc9be540" providerId="AD" clId="Web-{9885B47D-6E1F-4DC3-8768-3A873BCBF756}" dt="2019-06-17T21:37:55.975" v="721"/>
        <pc:sldMkLst>
          <pc:docMk/>
          <pc:sldMk cId="3729698856" sldId="438"/>
        </pc:sldMkLst>
      </pc:sldChg>
    </pc:docChg>
  </pc:docChgLst>
  <pc:docChgLst>
    <pc:chgData name="Eder Oscar Lazaro Rodriguez" userId="de686be7-b5fb-44ff-ba7e-2dbd6e742f03" providerId="ADAL" clId="{46F03361-4E15-1349-A082-41E030E8B594}"/>
    <pc:docChg chg="undo custSel addSld delSld modSld sldOrd">
      <pc:chgData name="Eder Oscar Lazaro Rodriguez" userId="de686be7-b5fb-44ff-ba7e-2dbd6e742f03" providerId="ADAL" clId="{46F03361-4E15-1349-A082-41E030E8B594}" dt="2019-06-17T22:47:09.660" v="121" actId="313"/>
      <pc:docMkLst>
        <pc:docMk/>
      </pc:docMkLst>
      <pc:sldChg chg="add del">
        <pc:chgData name="Eder Oscar Lazaro Rodriguez" userId="de686be7-b5fb-44ff-ba7e-2dbd6e742f03" providerId="ADAL" clId="{46F03361-4E15-1349-A082-41E030E8B594}" dt="2019-06-17T22:27:42.472" v="42" actId="2696"/>
        <pc:sldMkLst>
          <pc:docMk/>
          <pc:sldMk cId="3751704798" sldId="260"/>
        </pc:sldMkLst>
      </pc:sldChg>
      <pc:sldChg chg="delSp modSp">
        <pc:chgData name="Eder Oscar Lazaro Rodriguez" userId="de686be7-b5fb-44ff-ba7e-2dbd6e742f03" providerId="ADAL" clId="{46F03361-4E15-1349-A082-41E030E8B594}" dt="2019-06-17T22:47:09.660" v="121" actId="313"/>
        <pc:sldMkLst>
          <pc:docMk/>
          <pc:sldMk cId="7979611" sldId="285"/>
        </pc:sldMkLst>
        <pc:spChg chg="del">
          <ac:chgData name="Eder Oscar Lazaro Rodriguez" userId="de686be7-b5fb-44ff-ba7e-2dbd6e742f03" providerId="ADAL" clId="{46F03361-4E15-1349-A082-41E030E8B594}" dt="2019-06-17T22:14:10.946" v="0" actId="478"/>
          <ac:spMkLst>
            <pc:docMk/>
            <pc:sldMk cId="7979611" sldId="285"/>
            <ac:spMk id="4" creationId="{69ADE10F-2A18-D140-B002-0B061D89E067}"/>
          </ac:spMkLst>
        </pc:spChg>
        <pc:spChg chg="mod">
          <ac:chgData name="Eder Oscar Lazaro Rodriguez" userId="de686be7-b5fb-44ff-ba7e-2dbd6e742f03" providerId="ADAL" clId="{46F03361-4E15-1349-A082-41E030E8B594}" dt="2019-06-17T22:47:09.660" v="121" actId="313"/>
          <ac:spMkLst>
            <pc:docMk/>
            <pc:sldMk cId="7979611" sldId="285"/>
            <ac:spMk id="8" creationId="{00000000-0000-0000-0000-000000000000}"/>
          </ac:spMkLst>
        </pc:spChg>
      </pc:sldChg>
      <pc:sldChg chg="modSp">
        <pc:chgData name="Eder Oscar Lazaro Rodriguez" userId="de686be7-b5fb-44ff-ba7e-2dbd6e742f03" providerId="ADAL" clId="{46F03361-4E15-1349-A082-41E030E8B594}" dt="2019-06-17T22:14:30.759" v="6" actId="242"/>
        <pc:sldMkLst>
          <pc:docMk/>
          <pc:sldMk cId="1508700783" sldId="379"/>
        </pc:sldMkLst>
        <pc:spChg chg="mod">
          <ac:chgData name="Eder Oscar Lazaro Rodriguez" userId="de686be7-b5fb-44ff-ba7e-2dbd6e742f03" providerId="ADAL" clId="{46F03361-4E15-1349-A082-41E030E8B594}" dt="2019-06-17T22:14:30.759" v="6" actId="242"/>
          <ac:spMkLst>
            <pc:docMk/>
            <pc:sldMk cId="1508700783" sldId="379"/>
            <ac:spMk id="41" creationId="{BC4A25D9-7E73-1143-8885-0A4B2092F7BB}"/>
          </ac:spMkLst>
        </pc:spChg>
      </pc:sldChg>
      <pc:sldChg chg="modSp">
        <pc:chgData name="Eder Oscar Lazaro Rodriguez" userId="de686be7-b5fb-44ff-ba7e-2dbd6e742f03" providerId="ADAL" clId="{46F03361-4E15-1349-A082-41E030E8B594}" dt="2019-06-17T22:14:54.271" v="8" actId="242"/>
        <pc:sldMkLst>
          <pc:docMk/>
          <pc:sldMk cId="2220492490" sldId="380"/>
        </pc:sldMkLst>
        <pc:spChg chg="mod">
          <ac:chgData name="Eder Oscar Lazaro Rodriguez" userId="de686be7-b5fb-44ff-ba7e-2dbd6e742f03" providerId="ADAL" clId="{46F03361-4E15-1349-A082-41E030E8B594}" dt="2019-06-17T22:14:54.271" v="8" actId="242"/>
          <ac:spMkLst>
            <pc:docMk/>
            <pc:sldMk cId="2220492490" sldId="380"/>
            <ac:spMk id="41" creationId="{BC4A25D9-7E73-1143-8885-0A4B2092F7BB}"/>
          </ac:spMkLst>
        </pc:spChg>
      </pc:sldChg>
      <pc:sldChg chg="del">
        <pc:chgData name="Eder Oscar Lazaro Rodriguez" userId="de686be7-b5fb-44ff-ba7e-2dbd6e742f03" providerId="ADAL" clId="{46F03361-4E15-1349-A082-41E030E8B594}" dt="2019-06-17T22:17:04.919" v="20" actId="2696"/>
        <pc:sldMkLst>
          <pc:docMk/>
          <pc:sldMk cId="400474822" sldId="396"/>
        </pc:sldMkLst>
      </pc:sldChg>
      <pc:sldChg chg="modSp">
        <pc:chgData name="Eder Oscar Lazaro Rodriguez" userId="de686be7-b5fb-44ff-ba7e-2dbd6e742f03" providerId="ADAL" clId="{46F03361-4E15-1349-A082-41E030E8B594}" dt="2019-06-17T22:14:46.757" v="7" actId="242"/>
        <pc:sldMkLst>
          <pc:docMk/>
          <pc:sldMk cId="606049192" sldId="401"/>
        </pc:sldMkLst>
        <pc:spChg chg="mod">
          <ac:chgData name="Eder Oscar Lazaro Rodriguez" userId="de686be7-b5fb-44ff-ba7e-2dbd6e742f03" providerId="ADAL" clId="{46F03361-4E15-1349-A082-41E030E8B594}" dt="2019-06-17T22:14:46.757" v="7" actId="242"/>
          <ac:spMkLst>
            <pc:docMk/>
            <pc:sldMk cId="606049192" sldId="401"/>
            <ac:spMk id="9" creationId="{D8AB2455-C93D-E346-A6EC-B2C2E1DB4FDC}"/>
          </ac:spMkLst>
        </pc:spChg>
      </pc:sldChg>
      <pc:sldChg chg="modSp">
        <pc:chgData name="Eder Oscar Lazaro Rodriguez" userId="de686be7-b5fb-44ff-ba7e-2dbd6e742f03" providerId="ADAL" clId="{46F03361-4E15-1349-A082-41E030E8B594}" dt="2019-06-17T22:46:43.193" v="104"/>
        <pc:sldMkLst>
          <pc:docMk/>
          <pc:sldMk cId="1609685272" sldId="402"/>
        </pc:sldMkLst>
        <pc:spChg chg="mod">
          <ac:chgData name="Eder Oscar Lazaro Rodriguez" userId="de686be7-b5fb-44ff-ba7e-2dbd6e742f03" providerId="ADAL" clId="{46F03361-4E15-1349-A082-41E030E8B594}" dt="2019-06-17T22:46:43.193" v="104"/>
          <ac:spMkLst>
            <pc:docMk/>
            <pc:sldMk cId="1609685272" sldId="402"/>
            <ac:spMk id="12" creationId="{B160B663-D424-E449-AB29-AA980CD0E375}"/>
          </ac:spMkLst>
        </pc:spChg>
      </pc:sldChg>
      <pc:sldChg chg="ord">
        <pc:chgData name="Eder Oscar Lazaro Rodriguez" userId="de686be7-b5fb-44ff-ba7e-2dbd6e742f03" providerId="ADAL" clId="{46F03361-4E15-1349-A082-41E030E8B594}" dt="2019-06-17T22:27:21.830" v="39"/>
        <pc:sldMkLst>
          <pc:docMk/>
          <pc:sldMk cId="841578015" sldId="403"/>
        </pc:sldMkLst>
      </pc:sldChg>
      <pc:sldChg chg="ord">
        <pc:chgData name="Eder Oscar Lazaro Rodriguez" userId="de686be7-b5fb-44ff-ba7e-2dbd6e742f03" providerId="ADAL" clId="{46F03361-4E15-1349-A082-41E030E8B594}" dt="2019-06-17T22:27:21.830" v="39"/>
        <pc:sldMkLst>
          <pc:docMk/>
          <pc:sldMk cId="4227590305" sldId="404"/>
        </pc:sldMkLst>
      </pc:sldChg>
      <pc:sldChg chg="ord">
        <pc:chgData name="Eder Oscar Lazaro Rodriguez" userId="de686be7-b5fb-44ff-ba7e-2dbd6e742f03" providerId="ADAL" clId="{46F03361-4E15-1349-A082-41E030E8B594}" dt="2019-06-17T22:27:21.830" v="39"/>
        <pc:sldMkLst>
          <pc:docMk/>
          <pc:sldMk cId="3984080809" sldId="409"/>
        </pc:sldMkLst>
      </pc:sldChg>
      <pc:sldChg chg="ord">
        <pc:chgData name="Eder Oscar Lazaro Rodriguez" userId="de686be7-b5fb-44ff-ba7e-2dbd6e742f03" providerId="ADAL" clId="{46F03361-4E15-1349-A082-41E030E8B594}" dt="2019-06-17T22:27:21.830" v="39"/>
        <pc:sldMkLst>
          <pc:docMk/>
          <pc:sldMk cId="642397142" sldId="411"/>
        </pc:sldMkLst>
      </pc:sldChg>
      <pc:sldChg chg="addSp modSp modAnim">
        <pc:chgData name="Eder Oscar Lazaro Rodriguez" userId="de686be7-b5fb-44ff-ba7e-2dbd6e742f03" providerId="ADAL" clId="{46F03361-4E15-1349-A082-41E030E8B594}" dt="2019-06-17T22:39:32.238" v="47"/>
        <pc:sldMkLst>
          <pc:docMk/>
          <pc:sldMk cId="509629342" sldId="416"/>
        </pc:sldMkLst>
        <pc:spChg chg="add mod">
          <ac:chgData name="Eder Oscar Lazaro Rodriguez" userId="de686be7-b5fb-44ff-ba7e-2dbd6e742f03" providerId="ADAL" clId="{46F03361-4E15-1349-A082-41E030E8B594}" dt="2019-06-17T22:20:56.478" v="38" actId="767"/>
          <ac:spMkLst>
            <pc:docMk/>
            <pc:sldMk cId="509629342" sldId="416"/>
            <ac:spMk id="4" creationId="{6ECAD1F6-0AE2-254B-A400-931E66C809B8}"/>
          </ac:spMkLst>
        </pc:spChg>
        <pc:picChg chg="mod">
          <ac:chgData name="Eder Oscar Lazaro Rodriguez" userId="de686be7-b5fb-44ff-ba7e-2dbd6e742f03" providerId="ADAL" clId="{46F03361-4E15-1349-A082-41E030E8B594}" dt="2019-06-17T22:28:02.917" v="43" actId="1076"/>
          <ac:picMkLst>
            <pc:docMk/>
            <pc:sldMk cId="509629342" sldId="416"/>
            <ac:picMk id="5" creationId="{CA6C16AB-B1B1-4F8E-AE2A-3DE6A16D85C2}"/>
          </ac:picMkLst>
        </pc:picChg>
        <pc:picChg chg="mod">
          <ac:chgData name="Eder Oscar Lazaro Rodriguez" userId="de686be7-b5fb-44ff-ba7e-2dbd6e742f03" providerId="ADAL" clId="{46F03361-4E15-1349-A082-41E030E8B594}" dt="2019-06-17T22:28:12.914" v="46" actId="1076"/>
          <ac:picMkLst>
            <pc:docMk/>
            <pc:sldMk cId="509629342" sldId="416"/>
            <ac:picMk id="13" creationId="{4FEC8E14-3BB9-40FE-B884-4873EC83794F}"/>
          </ac:picMkLst>
        </pc:picChg>
      </pc:sldChg>
      <pc:sldChg chg="modSp modAnim">
        <pc:chgData name="Eder Oscar Lazaro Rodriguez" userId="de686be7-b5fb-44ff-ba7e-2dbd6e742f03" providerId="ADAL" clId="{46F03361-4E15-1349-A082-41E030E8B594}" dt="2019-06-17T22:40:47.285" v="63"/>
        <pc:sldMkLst>
          <pc:docMk/>
          <pc:sldMk cId="1890767864" sldId="417"/>
        </pc:sldMkLst>
        <pc:spChg chg="mod">
          <ac:chgData name="Eder Oscar Lazaro Rodriguez" userId="de686be7-b5fb-44ff-ba7e-2dbd6e742f03" providerId="ADAL" clId="{46F03361-4E15-1349-A082-41E030E8B594}" dt="2019-06-17T22:40:36.196" v="61" actId="1076"/>
          <ac:spMkLst>
            <pc:docMk/>
            <pc:sldMk cId="1890767864" sldId="417"/>
            <ac:spMk id="2" creationId="{9C7E4738-1952-424E-AFE0-FD990EC308B0}"/>
          </ac:spMkLst>
        </pc:spChg>
        <pc:spChg chg="mod">
          <ac:chgData name="Eder Oscar Lazaro Rodriguez" userId="de686be7-b5fb-44ff-ba7e-2dbd6e742f03" providerId="ADAL" clId="{46F03361-4E15-1349-A082-41E030E8B594}" dt="2019-06-17T22:40:40.405" v="62" actId="1076"/>
          <ac:spMkLst>
            <pc:docMk/>
            <pc:sldMk cId="1890767864" sldId="417"/>
            <ac:spMk id="3" creationId="{1643E306-05F4-4008-A7F6-169E9044F9A6}"/>
          </ac:spMkLst>
        </pc:spChg>
        <pc:picChg chg="mod modCrop">
          <ac:chgData name="Eder Oscar Lazaro Rodriguez" userId="de686be7-b5fb-44ff-ba7e-2dbd6e742f03" providerId="ADAL" clId="{46F03361-4E15-1349-A082-41E030E8B594}" dt="2019-06-17T22:40:28.178" v="58" actId="1076"/>
          <ac:picMkLst>
            <pc:docMk/>
            <pc:sldMk cId="1890767864" sldId="417"/>
            <ac:picMk id="4" creationId="{EFB8BE94-8C6A-4038-95CA-FBF5335EDC5E}"/>
          </ac:picMkLst>
        </pc:picChg>
        <pc:picChg chg="mod">
          <ac:chgData name="Eder Oscar Lazaro Rodriguez" userId="de686be7-b5fb-44ff-ba7e-2dbd6e742f03" providerId="ADAL" clId="{46F03361-4E15-1349-A082-41E030E8B594}" dt="2019-06-17T22:40:32.356" v="60" actId="1076"/>
          <ac:picMkLst>
            <pc:docMk/>
            <pc:sldMk cId="1890767864" sldId="417"/>
            <ac:picMk id="6" creationId="{66BF235D-FCB6-4199-81BC-2391713DA006}"/>
          </ac:picMkLst>
        </pc:picChg>
      </pc:sldChg>
      <pc:sldChg chg="addSp delSp modSp modAnim">
        <pc:chgData name="Eder Oscar Lazaro Rodriguez" userId="de686be7-b5fb-44ff-ba7e-2dbd6e742f03" providerId="ADAL" clId="{46F03361-4E15-1349-A082-41E030E8B594}" dt="2019-06-17T22:42:26.253" v="81" actId="1076"/>
        <pc:sldMkLst>
          <pc:docMk/>
          <pc:sldMk cId="2135361212" sldId="418"/>
        </pc:sldMkLst>
        <pc:spChg chg="mod">
          <ac:chgData name="Eder Oscar Lazaro Rodriguez" userId="de686be7-b5fb-44ff-ba7e-2dbd6e742f03" providerId="ADAL" clId="{46F03361-4E15-1349-A082-41E030E8B594}" dt="2019-06-17T22:42:26.253" v="81" actId="1076"/>
          <ac:spMkLst>
            <pc:docMk/>
            <pc:sldMk cId="2135361212" sldId="418"/>
            <ac:spMk id="2" creationId="{9C7E4738-1952-424E-AFE0-FD990EC308B0}"/>
          </ac:spMkLst>
        </pc:spChg>
        <pc:spChg chg="mod">
          <ac:chgData name="Eder Oscar Lazaro Rodriguez" userId="de686be7-b5fb-44ff-ba7e-2dbd6e742f03" providerId="ADAL" clId="{46F03361-4E15-1349-A082-41E030E8B594}" dt="2019-06-17T22:42:26.253" v="81" actId="1076"/>
          <ac:spMkLst>
            <pc:docMk/>
            <pc:sldMk cId="2135361212" sldId="418"/>
            <ac:spMk id="3" creationId="{1643E306-05F4-4008-A7F6-169E9044F9A6}"/>
          </ac:spMkLst>
        </pc:spChg>
        <pc:spChg chg="add del mod">
          <ac:chgData name="Eder Oscar Lazaro Rodriguez" userId="de686be7-b5fb-44ff-ba7e-2dbd6e742f03" providerId="ADAL" clId="{46F03361-4E15-1349-A082-41E030E8B594}" dt="2019-06-17T22:41:49.502" v="69" actId="478"/>
          <ac:spMkLst>
            <pc:docMk/>
            <pc:sldMk cId="2135361212" sldId="418"/>
            <ac:spMk id="5" creationId="{9FBF9797-C49B-6C45-B1B3-64C4F0E239E1}"/>
          </ac:spMkLst>
        </pc:spChg>
        <pc:spChg chg="mod">
          <ac:chgData name="Eder Oscar Lazaro Rodriguez" userId="de686be7-b5fb-44ff-ba7e-2dbd6e742f03" providerId="ADAL" clId="{46F03361-4E15-1349-A082-41E030E8B594}" dt="2019-06-17T22:42:26.253" v="81" actId="1076"/>
          <ac:spMkLst>
            <pc:docMk/>
            <pc:sldMk cId="2135361212" sldId="418"/>
            <ac:spMk id="10" creationId="{C13F3A85-E56F-48DB-B7E0-F69AA92BA842}"/>
          </ac:spMkLst>
        </pc:spChg>
        <pc:picChg chg="mod">
          <ac:chgData name="Eder Oscar Lazaro Rodriguez" userId="de686be7-b5fb-44ff-ba7e-2dbd6e742f03" providerId="ADAL" clId="{46F03361-4E15-1349-A082-41E030E8B594}" dt="2019-06-17T22:41:36.407" v="66" actId="1076"/>
          <ac:picMkLst>
            <pc:docMk/>
            <pc:sldMk cId="2135361212" sldId="418"/>
            <ac:picMk id="4" creationId="{999724B8-0BDC-4613-B8E3-2CF450AB856D}"/>
          </ac:picMkLst>
        </pc:picChg>
        <pc:picChg chg="del mod">
          <ac:chgData name="Eder Oscar Lazaro Rodriguez" userId="de686be7-b5fb-44ff-ba7e-2dbd6e742f03" providerId="ADAL" clId="{46F03361-4E15-1349-A082-41E030E8B594}" dt="2019-06-17T22:41:46.912" v="68"/>
          <ac:picMkLst>
            <pc:docMk/>
            <pc:sldMk cId="2135361212" sldId="418"/>
            <ac:picMk id="7" creationId="{192A72E3-1DFC-4988-9065-3FF603BD7343}"/>
          </ac:picMkLst>
        </pc:picChg>
        <pc:picChg chg="add mod">
          <ac:chgData name="Eder Oscar Lazaro Rodriguez" userId="de686be7-b5fb-44ff-ba7e-2dbd6e742f03" providerId="ADAL" clId="{46F03361-4E15-1349-A082-41E030E8B594}" dt="2019-06-17T22:42:02.188" v="74" actId="1076"/>
          <ac:picMkLst>
            <pc:docMk/>
            <pc:sldMk cId="2135361212" sldId="418"/>
            <ac:picMk id="12" creationId="{B78E3071-D4B9-F24D-9BA5-D01A1CC06ABE}"/>
          </ac:picMkLst>
        </pc:picChg>
      </pc:sldChg>
      <pc:sldChg chg="modSp">
        <pc:chgData name="Eder Oscar Lazaro Rodriguez" userId="de686be7-b5fb-44ff-ba7e-2dbd6e742f03" providerId="ADAL" clId="{46F03361-4E15-1349-A082-41E030E8B594}" dt="2019-06-17T22:43:07.108" v="85" actId="207"/>
        <pc:sldMkLst>
          <pc:docMk/>
          <pc:sldMk cId="1999803423" sldId="420"/>
        </pc:sldMkLst>
        <pc:spChg chg="mod">
          <ac:chgData name="Eder Oscar Lazaro Rodriguez" userId="de686be7-b5fb-44ff-ba7e-2dbd6e742f03" providerId="ADAL" clId="{46F03361-4E15-1349-A082-41E030E8B594}" dt="2019-06-17T22:43:07.108" v="85" actId="207"/>
          <ac:spMkLst>
            <pc:docMk/>
            <pc:sldMk cId="1999803423" sldId="420"/>
            <ac:spMk id="20" creationId="{A4937010-8918-4A66-9412-B48615ACAD9E}"/>
          </ac:spMkLst>
        </pc:spChg>
      </pc:sldChg>
      <pc:sldChg chg="modSp">
        <pc:chgData name="Eder Oscar Lazaro Rodriguez" userId="de686be7-b5fb-44ff-ba7e-2dbd6e742f03" providerId="ADAL" clId="{46F03361-4E15-1349-A082-41E030E8B594}" dt="2019-06-17T22:43:13.015" v="86" actId="207"/>
        <pc:sldMkLst>
          <pc:docMk/>
          <pc:sldMk cId="2150860712" sldId="423"/>
        </pc:sldMkLst>
        <pc:spChg chg="mod">
          <ac:chgData name="Eder Oscar Lazaro Rodriguez" userId="de686be7-b5fb-44ff-ba7e-2dbd6e742f03" providerId="ADAL" clId="{46F03361-4E15-1349-A082-41E030E8B594}" dt="2019-06-17T22:43:13.015" v="86" actId="207"/>
          <ac:spMkLst>
            <pc:docMk/>
            <pc:sldMk cId="2150860712" sldId="423"/>
            <ac:spMk id="20" creationId="{A4937010-8918-4A66-9412-B48615ACAD9E}"/>
          </ac:spMkLst>
        </pc:spChg>
      </pc:sldChg>
      <pc:sldChg chg="modSp">
        <pc:chgData name="Eder Oscar Lazaro Rodriguez" userId="de686be7-b5fb-44ff-ba7e-2dbd6e742f03" providerId="ADAL" clId="{46F03361-4E15-1349-A082-41E030E8B594}" dt="2019-06-17T22:44:03.370" v="89" actId="1076"/>
        <pc:sldMkLst>
          <pc:docMk/>
          <pc:sldMk cId="856673717" sldId="430"/>
        </pc:sldMkLst>
        <pc:spChg chg="mod">
          <ac:chgData name="Eder Oscar Lazaro Rodriguez" userId="de686be7-b5fb-44ff-ba7e-2dbd6e742f03" providerId="ADAL" clId="{46F03361-4E15-1349-A082-41E030E8B594}" dt="2019-06-17T22:44:03.370" v="89" actId="1076"/>
          <ac:spMkLst>
            <pc:docMk/>
            <pc:sldMk cId="856673717" sldId="430"/>
            <ac:spMk id="2" creationId="{9C7E4738-1952-424E-AFE0-FD990EC308B0}"/>
          </ac:spMkLst>
        </pc:spChg>
        <pc:spChg chg="mod">
          <ac:chgData name="Eder Oscar Lazaro Rodriguez" userId="de686be7-b5fb-44ff-ba7e-2dbd6e742f03" providerId="ADAL" clId="{46F03361-4E15-1349-A082-41E030E8B594}" dt="2019-06-17T22:44:03.370" v="89" actId="1076"/>
          <ac:spMkLst>
            <pc:docMk/>
            <pc:sldMk cId="856673717" sldId="430"/>
            <ac:spMk id="3" creationId="{1643E306-05F4-4008-A7F6-169E9044F9A6}"/>
          </ac:spMkLst>
        </pc:spChg>
      </pc:sldChg>
      <pc:sldChg chg="modSp">
        <pc:chgData name="Eder Oscar Lazaro Rodriguez" userId="de686be7-b5fb-44ff-ba7e-2dbd6e742f03" providerId="ADAL" clId="{46F03361-4E15-1349-A082-41E030E8B594}" dt="2019-06-17T22:43:41.005" v="88" actId="1076"/>
        <pc:sldMkLst>
          <pc:docMk/>
          <pc:sldMk cId="2912641823" sldId="431"/>
        </pc:sldMkLst>
        <pc:spChg chg="mod">
          <ac:chgData name="Eder Oscar Lazaro Rodriguez" userId="de686be7-b5fb-44ff-ba7e-2dbd6e742f03" providerId="ADAL" clId="{46F03361-4E15-1349-A082-41E030E8B594}" dt="2019-06-17T22:43:41.005" v="88" actId="1076"/>
          <ac:spMkLst>
            <pc:docMk/>
            <pc:sldMk cId="2912641823" sldId="431"/>
            <ac:spMk id="2" creationId="{9C7E4738-1952-424E-AFE0-FD990EC308B0}"/>
          </ac:spMkLst>
        </pc:spChg>
        <pc:spChg chg="mod">
          <ac:chgData name="Eder Oscar Lazaro Rodriguez" userId="de686be7-b5fb-44ff-ba7e-2dbd6e742f03" providerId="ADAL" clId="{46F03361-4E15-1349-A082-41E030E8B594}" dt="2019-06-17T22:43:36.865" v="87" actId="1076"/>
          <ac:spMkLst>
            <pc:docMk/>
            <pc:sldMk cId="2912641823" sldId="431"/>
            <ac:spMk id="3" creationId="{1643E306-05F4-4008-A7F6-169E9044F9A6}"/>
          </ac:spMkLst>
        </pc:spChg>
      </pc:sldChg>
      <pc:sldChg chg="modSp">
        <pc:chgData name="Eder Oscar Lazaro Rodriguez" userId="de686be7-b5fb-44ff-ba7e-2dbd6e742f03" providerId="ADAL" clId="{46F03361-4E15-1349-A082-41E030E8B594}" dt="2019-06-17T22:44:10.552" v="90" actId="1076"/>
        <pc:sldMkLst>
          <pc:docMk/>
          <pc:sldMk cId="272399855" sldId="433"/>
        </pc:sldMkLst>
        <pc:spChg chg="mod">
          <ac:chgData name="Eder Oscar Lazaro Rodriguez" userId="de686be7-b5fb-44ff-ba7e-2dbd6e742f03" providerId="ADAL" clId="{46F03361-4E15-1349-A082-41E030E8B594}" dt="2019-06-17T22:44:10.552" v="90" actId="1076"/>
          <ac:spMkLst>
            <pc:docMk/>
            <pc:sldMk cId="272399855" sldId="433"/>
            <ac:spMk id="2" creationId="{9C7E4738-1952-424E-AFE0-FD990EC308B0}"/>
          </ac:spMkLst>
        </pc:spChg>
        <pc:spChg chg="mod">
          <ac:chgData name="Eder Oscar Lazaro Rodriguez" userId="de686be7-b5fb-44ff-ba7e-2dbd6e742f03" providerId="ADAL" clId="{46F03361-4E15-1349-A082-41E030E8B594}" dt="2019-06-17T22:44:10.552" v="90" actId="1076"/>
          <ac:spMkLst>
            <pc:docMk/>
            <pc:sldMk cId="272399855" sldId="433"/>
            <ac:spMk id="3" creationId="{1643E306-05F4-4008-A7F6-169E9044F9A6}"/>
          </ac:spMkLst>
        </pc:spChg>
      </pc:sldChg>
      <pc:sldChg chg="modSp">
        <pc:chgData name="Eder Oscar Lazaro Rodriguez" userId="de686be7-b5fb-44ff-ba7e-2dbd6e742f03" providerId="ADAL" clId="{46F03361-4E15-1349-A082-41E030E8B594}" dt="2019-06-17T22:44:20.334" v="91" actId="1076"/>
        <pc:sldMkLst>
          <pc:docMk/>
          <pc:sldMk cId="2016761816" sldId="434"/>
        </pc:sldMkLst>
        <pc:spChg chg="mod">
          <ac:chgData name="Eder Oscar Lazaro Rodriguez" userId="de686be7-b5fb-44ff-ba7e-2dbd6e742f03" providerId="ADAL" clId="{46F03361-4E15-1349-A082-41E030E8B594}" dt="2019-06-17T22:44:20.334" v="91" actId="1076"/>
          <ac:spMkLst>
            <pc:docMk/>
            <pc:sldMk cId="2016761816" sldId="434"/>
            <ac:spMk id="2" creationId="{9C7E4738-1952-424E-AFE0-FD990EC308B0}"/>
          </ac:spMkLst>
        </pc:spChg>
        <pc:spChg chg="mod">
          <ac:chgData name="Eder Oscar Lazaro Rodriguez" userId="de686be7-b5fb-44ff-ba7e-2dbd6e742f03" providerId="ADAL" clId="{46F03361-4E15-1349-A082-41E030E8B594}" dt="2019-06-17T22:44:20.334" v="91" actId="1076"/>
          <ac:spMkLst>
            <pc:docMk/>
            <pc:sldMk cId="2016761816" sldId="434"/>
            <ac:spMk id="3" creationId="{1643E306-05F4-4008-A7F6-169E9044F9A6}"/>
          </ac:spMkLst>
        </pc:spChg>
      </pc:sldChg>
      <pc:sldChg chg="delSp modSp add">
        <pc:chgData name="Eder Oscar Lazaro Rodriguez" userId="de686be7-b5fb-44ff-ba7e-2dbd6e742f03" providerId="ADAL" clId="{46F03361-4E15-1349-A082-41E030E8B594}" dt="2019-06-17T22:19:49.921" v="37" actId="1076"/>
        <pc:sldMkLst>
          <pc:docMk/>
          <pc:sldMk cId="324366479" sldId="439"/>
        </pc:sldMkLst>
        <pc:spChg chg="mod">
          <ac:chgData name="Eder Oscar Lazaro Rodriguez" userId="de686be7-b5fb-44ff-ba7e-2dbd6e742f03" providerId="ADAL" clId="{46F03361-4E15-1349-A082-41E030E8B594}" dt="2019-06-17T22:18:06.454" v="29" actId="1076"/>
          <ac:spMkLst>
            <pc:docMk/>
            <pc:sldMk cId="324366479" sldId="439"/>
            <ac:spMk id="12" creationId="{1CEC6C05-41AD-D647-B10F-F497F3BCBAFB}"/>
          </ac:spMkLst>
        </pc:spChg>
        <pc:spChg chg="del">
          <ac:chgData name="Eder Oscar Lazaro Rodriguez" userId="de686be7-b5fb-44ff-ba7e-2dbd6e742f03" providerId="ADAL" clId="{46F03361-4E15-1349-A082-41E030E8B594}" dt="2019-06-17T22:17:26.342" v="23" actId="478"/>
          <ac:spMkLst>
            <pc:docMk/>
            <pc:sldMk cId="324366479" sldId="439"/>
            <ac:spMk id="26" creationId="{BE095C4B-58AB-AF45-9DA0-8CB072EBD274}"/>
          </ac:spMkLst>
        </pc:spChg>
        <pc:spChg chg="del">
          <ac:chgData name="Eder Oscar Lazaro Rodriguez" userId="de686be7-b5fb-44ff-ba7e-2dbd6e742f03" providerId="ADAL" clId="{46F03361-4E15-1349-A082-41E030E8B594}" dt="2019-06-17T22:17:26.342" v="23" actId="478"/>
          <ac:spMkLst>
            <pc:docMk/>
            <pc:sldMk cId="324366479" sldId="439"/>
            <ac:spMk id="27" creationId="{E64681F7-E3DB-BC47-A681-E9FED6CCBF16}"/>
          </ac:spMkLst>
        </pc:spChg>
        <pc:spChg chg="del">
          <ac:chgData name="Eder Oscar Lazaro Rodriguez" userId="de686be7-b5fb-44ff-ba7e-2dbd6e742f03" providerId="ADAL" clId="{46F03361-4E15-1349-A082-41E030E8B594}" dt="2019-06-17T22:17:20.923" v="22" actId="478"/>
          <ac:spMkLst>
            <pc:docMk/>
            <pc:sldMk cId="324366479" sldId="439"/>
            <ac:spMk id="28" creationId="{D40E0DCD-A156-7740-A2E1-1D9089E8C7C7}"/>
          </ac:spMkLst>
        </pc:spChg>
        <pc:spChg chg="mod">
          <ac:chgData name="Eder Oscar Lazaro Rodriguez" userId="de686be7-b5fb-44ff-ba7e-2dbd6e742f03" providerId="ADAL" clId="{46F03361-4E15-1349-A082-41E030E8B594}" dt="2019-06-17T22:18:06.454" v="29" actId="1076"/>
          <ac:spMkLst>
            <pc:docMk/>
            <pc:sldMk cId="324366479" sldId="439"/>
            <ac:spMk id="29" creationId="{0024442D-F03E-9247-AB07-022F3F6D039F}"/>
          </ac:spMkLst>
        </pc:spChg>
        <pc:spChg chg="mod">
          <ac:chgData name="Eder Oscar Lazaro Rodriguez" userId="de686be7-b5fb-44ff-ba7e-2dbd6e742f03" providerId="ADAL" clId="{46F03361-4E15-1349-A082-41E030E8B594}" dt="2019-06-17T22:18:06.454" v="29" actId="1076"/>
          <ac:spMkLst>
            <pc:docMk/>
            <pc:sldMk cId="324366479" sldId="439"/>
            <ac:spMk id="31" creationId="{E24591B0-F76D-A44A-A996-73114B79437A}"/>
          </ac:spMkLst>
        </pc:spChg>
        <pc:spChg chg="mod">
          <ac:chgData name="Eder Oscar Lazaro Rodriguez" userId="de686be7-b5fb-44ff-ba7e-2dbd6e742f03" providerId="ADAL" clId="{46F03361-4E15-1349-A082-41E030E8B594}" dt="2019-06-17T22:19:49.921" v="37" actId="1076"/>
          <ac:spMkLst>
            <pc:docMk/>
            <pc:sldMk cId="324366479" sldId="439"/>
            <ac:spMk id="32" creationId="{A650BB92-2EAB-D54E-BA1C-7994FEA5DC47}"/>
          </ac:spMkLst>
        </pc:spChg>
        <pc:spChg chg="del">
          <ac:chgData name="Eder Oscar Lazaro Rodriguez" userId="de686be7-b5fb-44ff-ba7e-2dbd6e742f03" providerId="ADAL" clId="{46F03361-4E15-1349-A082-41E030E8B594}" dt="2019-06-17T22:17:19.063" v="21" actId="478"/>
          <ac:spMkLst>
            <pc:docMk/>
            <pc:sldMk cId="324366479" sldId="439"/>
            <ac:spMk id="34" creationId="{06DB541A-BEBD-004E-8ABE-374013E8B654}"/>
          </ac:spMkLst>
        </pc:spChg>
        <pc:spChg chg="mod">
          <ac:chgData name="Eder Oscar Lazaro Rodriguez" userId="de686be7-b5fb-44ff-ba7e-2dbd6e742f03" providerId="ADAL" clId="{46F03361-4E15-1349-A082-41E030E8B594}" dt="2019-06-17T22:18:06.454" v="29" actId="1076"/>
          <ac:spMkLst>
            <pc:docMk/>
            <pc:sldMk cId="324366479" sldId="439"/>
            <ac:spMk id="46" creationId="{9BB35D3A-A72E-3846-B6A4-C8FD5056D291}"/>
          </ac:spMkLst>
        </pc:spChg>
        <pc:spChg chg="mod">
          <ac:chgData name="Eder Oscar Lazaro Rodriguez" userId="de686be7-b5fb-44ff-ba7e-2dbd6e742f03" providerId="ADAL" clId="{46F03361-4E15-1349-A082-41E030E8B594}" dt="2019-06-17T22:18:06.454" v="29" actId="1076"/>
          <ac:spMkLst>
            <pc:docMk/>
            <pc:sldMk cId="324366479" sldId="439"/>
            <ac:spMk id="50" creationId="{A64EFB0A-A56C-5344-9AB3-A97E397F5990}"/>
          </ac:spMkLst>
        </pc:spChg>
        <pc:spChg chg="mod">
          <ac:chgData name="Eder Oscar Lazaro Rodriguez" userId="de686be7-b5fb-44ff-ba7e-2dbd6e742f03" providerId="ADAL" clId="{46F03361-4E15-1349-A082-41E030E8B594}" dt="2019-06-17T22:18:06.454" v="29" actId="1076"/>
          <ac:spMkLst>
            <pc:docMk/>
            <pc:sldMk cId="324366479" sldId="439"/>
            <ac:spMk id="51" creationId="{0C13ED4B-F7D4-9641-B61A-19EB8E4D434F}"/>
          </ac:spMkLst>
        </pc:spChg>
        <pc:spChg chg="mod">
          <ac:chgData name="Eder Oscar Lazaro Rodriguez" userId="de686be7-b5fb-44ff-ba7e-2dbd6e742f03" providerId="ADAL" clId="{46F03361-4E15-1349-A082-41E030E8B594}" dt="2019-06-17T22:18:06.454" v="29" actId="1076"/>
          <ac:spMkLst>
            <pc:docMk/>
            <pc:sldMk cId="324366479" sldId="439"/>
            <ac:spMk id="54" creationId="{2B538F66-EA43-664D-AD15-A9EB6E1A7F75}"/>
          </ac:spMkLst>
        </pc:spChg>
        <pc:spChg chg="mod">
          <ac:chgData name="Eder Oscar Lazaro Rodriguez" userId="de686be7-b5fb-44ff-ba7e-2dbd6e742f03" providerId="ADAL" clId="{46F03361-4E15-1349-A082-41E030E8B594}" dt="2019-06-17T22:18:06.454" v="29" actId="1076"/>
          <ac:spMkLst>
            <pc:docMk/>
            <pc:sldMk cId="324366479" sldId="439"/>
            <ac:spMk id="55" creationId="{108241C6-CFF0-6C4E-988B-3E87ADF23349}"/>
          </ac:spMkLst>
        </pc:spChg>
        <pc:spChg chg="mod">
          <ac:chgData name="Eder Oscar Lazaro Rodriguez" userId="de686be7-b5fb-44ff-ba7e-2dbd6e742f03" providerId="ADAL" clId="{46F03361-4E15-1349-A082-41E030E8B594}" dt="2019-06-17T22:18:06.454" v="29" actId="1076"/>
          <ac:spMkLst>
            <pc:docMk/>
            <pc:sldMk cId="324366479" sldId="439"/>
            <ac:spMk id="57" creationId="{FAEFEFD8-31BF-D24F-ACB4-8A5EA6318EC8}"/>
          </ac:spMkLst>
        </pc:spChg>
        <pc:spChg chg="mod">
          <ac:chgData name="Eder Oscar Lazaro Rodriguez" userId="de686be7-b5fb-44ff-ba7e-2dbd6e742f03" providerId="ADAL" clId="{46F03361-4E15-1349-A082-41E030E8B594}" dt="2019-06-17T22:18:06.454" v="29" actId="1076"/>
          <ac:spMkLst>
            <pc:docMk/>
            <pc:sldMk cId="324366479" sldId="439"/>
            <ac:spMk id="58" creationId="{95EC4E28-59F4-C14A-96D6-DA3A78157963}"/>
          </ac:spMkLst>
        </pc:spChg>
      </pc:sldChg>
    </pc:docChg>
  </pc:docChgLst>
  <pc:docChgLst>
    <pc:chgData name="Eder Oscar Lazaro Rodriguez" userId="S::elazaro@belcorp.biz::de686be7-b5fb-44ff-ba7e-2dbd6e742f03" providerId="AD" clId="Web-{08DE4A2B-47E7-4CD6-9795-DB7792EA7EEA}"/>
    <pc:docChg chg="modSld">
      <pc:chgData name="Eder Oscar Lazaro Rodriguez" userId="S::elazaro@belcorp.biz::de686be7-b5fb-44ff-ba7e-2dbd6e742f03" providerId="AD" clId="Web-{08DE4A2B-47E7-4CD6-9795-DB7792EA7EEA}" dt="2019-07-24T18:25:44.313" v="6" actId="20577"/>
      <pc:docMkLst>
        <pc:docMk/>
      </pc:docMkLst>
      <pc:sldChg chg="modSp">
        <pc:chgData name="Eder Oscar Lazaro Rodriguez" userId="S::elazaro@belcorp.biz::de686be7-b5fb-44ff-ba7e-2dbd6e742f03" providerId="AD" clId="Web-{08DE4A2B-47E7-4CD6-9795-DB7792EA7EEA}" dt="2019-07-24T18:25:44.204" v="4" actId="20577"/>
        <pc:sldMkLst>
          <pc:docMk/>
          <pc:sldMk cId="324366479" sldId="439"/>
        </pc:sldMkLst>
        <pc:spChg chg="mod">
          <ac:chgData name="Eder Oscar Lazaro Rodriguez" userId="S::elazaro@belcorp.biz::de686be7-b5fb-44ff-ba7e-2dbd6e742f03" providerId="AD" clId="Web-{08DE4A2B-47E7-4CD6-9795-DB7792EA7EEA}" dt="2019-07-24T18:25:44.204" v="4" actId="20577"/>
          <ac:spMkLst>
            <pc:docMk/>
            <pc:sldMk cId="324366479" sldId="439"/>
            <ac:spMk id="5" creationId="{F4D6B14D-9C27-C64E-A153-3ED07E3E481E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belcorpbiz-my.sharepoint.com/personal/ldiego_belcorp_biz/Documents/Documentos/Arquitectura/Resultados%20de%20Net%20Core%20vs%20NodeJ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diego\OneDrive%20-%20CETCO%20S.A\Documentos\Arquitectura\Documentos\Resultados%20Framework%20Nod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diego\OneDrive%20-%20CETCO%20S.A\Documentos\Arquitectura\Documentos\Resultados%20Framework%20Nod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diego\OneDrive%20-%20CETCO%20S.A\Documentos\Arquitectura\Documentos\Resultados%20Framework%20Nod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diego\OneDrive%20-%20CETCO%20S.A\Documentos\Arquitectura\Documentos\Resultados%20Framework%20Nod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NCURRENCI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7</c:f>
              <c:strCache>
                <c:ptCount val="1"/>
                <c:pt idx="0">
                  <c:v>NetCor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multiLvlStrRef>
              <c:f>Sheet1!$C$15:$T$16</c:f>
              <c:multiLvlStrCache>
                <c:ptCount val="18"/>
                <c:lvl>
                  <c:pt idx="0">
                    <c:v>100</c:v>
                  </c:pt>
                  <c:pt idx="1">
                    <c:v>150</c:v>
                  </c:pt>
                  <c:pt idx="2">
                    <c:v>200</c:v>
                  </c:pt>
                  <c:pt idx="3">
                    <c:v>250</c:v>
                  </c:pt>
                  <c:pt idx="4">
                    <c:v>300</c:v>
                  </c:pt>
                  <c:pt idx="5">
                    <c:v>400</c:v>
                  </c:pt>
                  <c:pt idx="6">
                    <c:v>500</c:v>
                  </c:pt>
                  <c:pt idx="7">
                    <c:v>600</c:v>
                  </c:pt>
                  <c:pt idx="8">
                    <c:v>700</c:v>
                  </c:pt>
                  <c:pt idx="9">
                    <c:v>750</c:v>
                  </c:pt>
                  <c:pt idx="10">
                    <c:v>800</c:v>
                  </c:pt>
                  <c:pt idx="11">
                    <c:v>900</c:v>
                  </c:pt>
                  <c:pt idx="12">
                    <c:v>1000</c:v>
                  </c:pt>
                  <c:pt idx="13">
                    <c:v>1100</c:v>
                  </c:pt>
                  <c:pt idx="14">
                    <c:v>1200</c:v>
                  </c:pt>
                  <c:pt idx="15">
                    <c:v>1300</c:v>
                  </c:pt>
                  <c:pt idx="16">
                    <c:v>1400</c:v>
                  </c:pt>
                  <c:pt idx="17">
                    <c:v>1500</c:v>
                  </c:pt>
                </c:lvl>
                <c:lvl>
                  <c:pt idx="0">
                    <c:v>Usuarios</c:v>
                  </c:pt>
                </c:lvl>
              </c:multiLvlStrCache>
            </c:multiLvlStrRef>
          </c:cat>
          <c:val>
            <c:numRef>
              <c:f>Sheet1!$C$17:$T$17</c:f>
              <c:numCache>
                <c:formatCode>0%</c:formatCode>
                <c:ptCount val="1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0.9</c:v>
                </c:pt>
                <c:pt idx="7">
                  <c:v>0.9</c:v>
                </c:pt>
                <c:pt idx="8">
                  <c:v>0.8</c:v>
                </c:pt>
                <c:pt idx="9">
                  <c:v>0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B62-1243-8A3A-FA27C5C8B2D1}"/>
            </c:ext>
          </c:extLst>
        </c:ser>
        <c:ser>
          <c:idx val="1"/>
          <c:order val="1"/>
          <c:tx>
            <c:strRef>
              <c:f>Sheet1!$B$18</c:f>
              <c:strCache>
                <c:ptCount val="1"/>
                <c:pt idx="0">
                  <c:v>NodeJ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multiLvlStrRef>
              <c:f>Sheet1!$C$15:$T$16</c:f>
              <c:multiLvlStrCache>
                <c:ptCount val="18"/>
                <c:lvl>
                  <c:pt idx="0">
                    <c:v>100</c:v>
                  </c:pt>
                  <c:pt idx="1">
                    <c:v>150</c:v>
                  </c:pt>
                  <c:pt idx="2">
                    <c:v>200</c:v>
                  </c:pt>
                  <c:pt idx="3">
                    <c:v>250</c:v>
                  </c:pt>
                  <c:pt idx="4">
                    <c:v>300</c:v>
                  </c:pt>
                  <c:pt idx="5">
                    <c:v>400</c:v>
                  </c:pt>
                  <c:pt idx="6">
                    <c:v>500</c:v>
                  </c:pt>
                  <c:pt idx="7">
                    <c:v>600</c:v>
                  </c:pt>
                  <c:pt idx="8">
                    <c:v>700</c:v>
                  </c:pt>
                  <c:pt idx="9">
                    <c:v>750</c:v>
                  </c:pt>
                  <c:pt idx="10">
                    <c:v>800</c:v>
                  </c:pt>
                  <c:pt idx="11">
                    <c:v>900</c:v>
                  </c:pt>
                  <c:pt idx="12">
                    <c:v>1000</c:v>
                  </c:pt>
                  <c:pt idx="13">
                    <c:v>1100</c:v>
                  </c:pt>
                  <c:pt idx="14">
                    <c:v>1200</c:v>
                  </c:pt>
                  <c:pt idx="15">
                    <c:v>1300</c:v>
                  </c:pt>
                  <c:pt idx="16">
                    <c:v>1400</c:v>
                  </c:pt>
                  <c:pt idx="17">
                    <c:v>1500</c:v>
                  </c:pt>
                </c:lvl>
                <c:lvl>
                  <c:pt idx="0">
                    <c:v>Usuarios</c:v>
                  </c:pt>
                </c:lvl>
              </c:multiLvlStrCache>
            </c:multiLvlStrRef>
          </c:cat>
          <c:val>
            <c:numRef>
              <c:f>Sheet1!$C$18:$T$18</c:f>
              <c:numCache>
                <c:formatCode>0%</c:formatCode>
                <c:ptCount val="1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0.95</c:v>
                </c:pt>
                <c:pt idx="16">
                  <c:v>0.9</c:v>
                </c:pt>
                <c:pt idx="17">
                  <c:v>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62-1243-8A3A-FA27C5C8B2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21831247"/>
        <c:axId val="1351276175"/>
      </c:lineChart>
      <c:catAx>
        <c:axId val="14218312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51276175"/>
        <c:crosses val="autoZero"/>
        <c:auto val="1"/>
        <c:lblAlgn val="ctr"/>
        <c:lblOffset val="100"/>
        <c:noMultiLvlLbl val="0"/>
      </c:catAx>
      <c:valAx>
        <c:axId val="13512761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SUCCESS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183124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eques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3"/>
          <c:order val="0"/>
          <c:tx>
            <c:strRef>
              <c:f>Data!$A$6</c:f>
              <c:strCache>
                <c:ptCount val="1"/>
                <c:pt idx="0">
                  <c:v>Fastif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C$6:$G$6</c:f>
              <c:numCache>
                <c:formatCode>General</c:formatCode>
                <c:ptCount val="5"/>
                <c:pt idx="0">
                  <c:v>2996000</c:v>
                </c:pt>
                <c:pt idx="1">
                  <c:v>2789000</c:v>
                </c:pt>
                <c:pt idx="2">
                  <c:v>2616000</c:v>
                </c:pt>
                <c:pt idx="3">
                  <c:v>3312000</c:v>
                </c:pt>
                <c:pt idx="4">
                  <c:v>16259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DC-3B4B-8FAA-38D3D5574DDE}"/>
            </c:ext>
          </c:extLst>
        </c:ser>
        <c:ser>
          <c:idx val="1"/>
          <c:order val="1"/>
          <c:tx>
            <c:strRef>
              <c:f>Data!$A$4</c:f>
              <c:strCache>
                <c:ptCount val="1"/>
                <c:pt idx="0">
                  <c:v>Ko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C$4:$G$4</c:f>
              <c:numCache>
                <c:formatCode>General</c:formatCode>
                <c:ptCount val="5"/>
                <c:pt idx="0">
                  <c:v>2042000</c:v>
                </c:pt>
                <c:pt idx="1">
                  <c:v>1863000</c:v>
                </c:pt>
                <c:pt idx="2">
                  <c:v>1928000</c:v>
                </c:pt>
                <c:pt idx="3">
                  <c:v>2106000</c:v>
                </c:pt>
                <c:pt idx="4">
                  <c:v>1099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DC-3B4B-8FAA-38D3D5574DDE}"/>
            </c:ext>
          </c:extLst>
        </c:ser>
        <c:ser>
          <c:idx val="2"/>
          <c:order val="2"/>
          <c:tx>
            <c:strRef>
              <c:f>Data!$A$5</c:f>
              <c:strCache>
                <c:ptCount val="1"/>
                <c:pt idx="0">
                  <c:v>Hapi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C$5:$G$5</c:f>
              <c:numCache>
                <c:formatCode>General</c:formatCode>
                <c:ptCount val="5"/>
                <c:pt idx="0">
                  <c:v>1579000</c:v>
                </c:pt>
                <c:pt idx="1">
                  <c:v>1474000</c:v>
                </c:pt>
                <c:pt idx="2">
                  <c:v>1715000</c:v>
                </c:pt>
                <c:pt idx="3">
                  <c:v>1718000</c:v>
                </c:pt>
                <c:pt idx="4">
                  <c:v>8549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FDC-3B4B-8FAA-38D3D5574DDE}"/>
            </c:ext>
          </c:extLst>
        </c:ser>
        <c:ser>
          <c:idx val="0"/>
          <c:order val="3"/>
          <c:tx>
            <c:strRef>
              <c:f>Data!$A$3</c:f>
              <c:strCache>
                <c:ptCount val="1"/>
                <c:pt idx="0">
                  <c:v>Expres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C$3:$G$3</c:f>
              <c:numCache>
                <c:formatCode>General</c:formatCode>
                <c:ptCount val="5"/>
                <c:pt idx="0">
                  <c:v>1169000</c:v>
                </c:pt>
                <c:pt idx="1">
                  <c:v>1124000</c:v>
                </c:pt>
                <c:pt idx="2">
                  <c:v>1262000</c:v>
                </c:pt>
                <c:pt idx="3">
                  <c:v>1263000</c:v>
                </c:pt>
                <c:pt idx="4">
                  <c:v>580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FDC-3B4B-8FAA-38D3D5574DDE}"/>
            </c:ext>
          </c:extLst>
        </c:ser>
        <c:ser>
          <c:idx val="4"/>
          <c:order val="4"/>
          <c:tx>
            <c:strRef>
              <c:f>Data!$A$7</c:f>
              <c:strCache>
                <c:ptCount val="1"/>
                <c:pt idx="0">
                  <c:v>Restify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C$7:$G$7</c:f>
              <c:numCache>
                <c:formatCode>General</c:formatCode>
                <c:ptCount val="5"/>
                <c:pt idx="0">
                  <c:v>1222000</c:v>
                </c:pt>
                <c:pt idx="1">
                  <c:v>1184000</c:v>
                </c:pt>
                <c:pt idx="2">
                  <c:v>1002000</c:v>
                </c:pt>
                <c:pt idx="3">
                  <c:v>549000</c:v>
                </c:pt>
                <c:pt idx="4">
                  <c:v>2252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FDC-3B4B-8FAA-38D3D5574D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0239535"/>
        <c:axId val="1370241215"/>
      </c:lineChart>
      <c:catAx>
        <c:axId val="1370239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SUARIO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0241215"/>
        <c:crosses val="autoZero"/>
        <c:auto val="1"/>
        <c:lblAlgn val="ctr"/>
        <c:lblOffset val="100"/>
        <c:noMultiLvlLbl val="0"/>
      </c:catAx>
      <c:valAx>
        <c:axId val="13702412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I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0239535"/>
        <c:crosses val="autoZero"/>
        <c:crossBetween val="between"/>
        <c:dispUnits>
          <c:builtInUnit val="thousands"/>
        </c:dispUnits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equests</a:t>
            </a:r>
            <a:r>
              <a:rPr lang="en-US" baseline="0"/>
              <a:t> x Segundos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3"/>
          <c:order val="0"/>
          <c:tx>
            <c:strRef>
              <c:f>Data!$A$6</c:f>
              <c:strCache>
                <c:ptCount val="1"/>
                <c:pt idx="0">
                  <c:v>Fastif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H$6:$L$6</c:f>
              <c:numCache>
                <c:formatCode>General</c:formatCode>
                <c:ptCount val="5"/>
                <c:pt idx="0">
                  <c:v>49928.67</c:v>
                </c:pt>
                <c:pt idx="1">
                  <c:v>46485.47</c:v>
                </c:pt>
                <c:pt idx="2">
                  <c:v>43601.07</c:v>
                </c:pt>
                <c:pt idx="3">
                  <c:v>55204.27</c:v>
                </c:pt>
                <c:pt idx="4">
                  <c:v>54195.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3A6-8544-8617-5545E583E4DA}"/>
            </c:ext>
          </c:extLst>
        </c:ser>
        <c:ser>
          <c:idx val="1"/>
          <c:order val="1"/>
          <c:tx>
            <c:strRef>
              <c:f>Data!$A$4</c:f>
              <c:strCache>
                <c:ptCount val="1"/>
                <c:pt idx="0">
                  <c:v>Ko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H$4:$L$4</c:f>
              <c:numCache>
                <c:formatCode>General</c:formatCode>
                <c:ptCount val="5"/>
                <c:pt idx="0">
                  <c:v>34034.14</c:v>
                </c:pt>
                <c:pt idx="1">
                  <c:v>31046.94</c:v>
                </c:pt>
                <c:pt idx="2">
                  <c:v>32137.87</c:v>
                </c:pt>
                <c:pt idx="3">
                  <c:v>35016.400000000001</c:v>
                </c:pt>
                <c:pt idx="4">
                  <c:v>36634.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3A6-8544-8617-5545E583E4DA}"/>
            </c:ext>
          </c:extLst>
        </c:ser>
        <c:ser>
          <c:idx val="2"/>
          <c:order val="2"/>
          <c:tx>
            <c:strRef>
              <c:f>Data!$A$5</c:f>
              <c:strCache>
                <c:ptCount val="1"/>
                <c:pt idx="0">
                  <c:v>Hapi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H$5:$L$5</c:f>
              <c:numCache>
                <c:formatCode>General</c:formatCode>
                <c:ptCount val="5"/>
                <c:pt idx="0">
                  <c:v>26316.2</c:v>
                </c:pt>
                <c:pt idx="1">
                  <c:v>24576</c:v>
                </c:pt>
                <c:pt idx="2">
                  <c:v>28588.799999999999</c:v>
                </c:pt>
                <c:pt idx="3">
                  <c:v>28629.07</c:v>
                </c:pt>
                <c:pt idx="4">
                  <c:v>28498.24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3A6-8544-8617-5545E583E4DA}"/>
            </c:ext>
          </c:extLst>
        </c:ser>
        <c:ser>
          <c:idx val="0"/>
          <c:order val="3"/>
          <c:tx>
            <c:strRef>
              <c:f>Data!$A$3</c:f>
              <c:strCache>
                <c:ptCount val="1"/>
                <c:pt idx="0">
                  <c:v>Expres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H$3:$L$3</c:f>
              <c:numCache>
                <c:formatCode>General</c:formatCode>
                <c:ptCount val="5"/>
                <c:pt idx="0">
                  <c:v>19477.939999999999</c:v>
                </c:pt>
                <c:pt idx="1">
                  <c:v>18729.07</c:v>
                </c:pt>
                <c:pt idx="2">
                  <c:v>21026.74</c:v>
                </c:pt>
                <c:pt idx="3">
                  <c:v>21045.87</c:v>
                </c:pt>
                <c:pt idx="4">
                  <c:v>19334.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3A6-8544-8617-5545E583E4DA}"/>
            </c:ext>
          </c:extLst>
        </c:ser>
        <c:ser>
          <c:idx val="4"/>
          <c:order val="4"/>
          <c:tx>
            <c:strRef>
              <c:f>Data!$A$7</c:f>
              <c:strCache>
                <c:ptCount val="1"/>
                <c:pt idx="0">
                  <c:v>Restify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H$7:$L$7</c:f>
              <c:numCache>
                <c:formatCode>General</c:formatCode>
                <c:ptCount val="5"/>
                <c:pt idx="0">
                  <c:v>20359.27</c:v>
                </c:pt>
                <c:pt idx="1">
                  <c:v>19742.07</c:v>
                </c:pt>
                <c:pt idx="2">
                  <c:v>16693.91</c:v>
                </c:pt>
                <c:pt idx="3">
                  <c:v>9148.94</c:v>
                </c:pt>
                <c:pt idx="4">
                  <c:v>7506.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3A6-8544-8617-5545E583E4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0239535"/>
        <c:axId val="1370241215"/>
      </c:lineChart>
      <c:catAx>
        <c:axId val="1370239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SUARIO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0241215"/>
        <c:crosses val="autoZero"/>
        <c:auto val="1"/>
        <c:lblAlgn val="ctr"/>
        <c:lblOffset val="100"/>
        <c:noMultiLvlLbl val="0"/>
      </c:catAx>
      <c:valAx>
        <c:axId val="13702412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I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0239535"/>
        <c:crosses val="autoZero"/>
        <c:crossBetween val="between"/>
        <c:dispUnits>
          <c:builtInUnit val="thousands"/>
        </c:dispUnits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ATENCI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4"/>
          <c:order val="0"/>
          <c:tx>
            <c:strRef>
              <c:f>Data!$A$7</c:f>
              <c:strCache>
                <c:ptCount val="1"/>
                <c:pt idx="0">
                  <c:v>Restify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M$7:$Q$7</c:f>
              <c:numCache>
                <c:formatCode>General</c:formatCode>
                <c:ptCount val="5"/>
                <c:pt idx="0">
                  <c:v>4.6399999999999997</c:v>
                </c:pt>
                <c:pt idx="1">
                  <c:v>12.22</c:v>
                </c:pt>
                <c:pt idx="2">
                  <c:v>28.47</c:v>
                </c:pt>
                <c:pt idx="3">
                  <c:v>64.11</c:v>
                </c:pt>
                <c:pt idx="4">
                  <c:v>68.489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781-0E4E-A400-CA5A25CCA7DE}"/>
            </c:ext>
          </c:extLst>
        </c:ser>
        <c:ser>
          <c:idx val="0"/>
          <c:order val="1"/>
          <c:tx>
            <c:strRef>
              <c:f>Data!$A$3</c:f>
              <c:strCache>
                <c:ptCount val="1"/>
                <c:pt idx="0">
                  <c:v>Expres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M$3:$Q$3</c:f>
              <c:numCache>
                <c:formatCode>General</c:formatCode>
                <c:ptCount val="5"/>
                <c:pt idx="0">
                  <c:v>5.04</c:v>
                </c:pt>
                <c:pt idx="1">
                  <c:v>12.97</c:v>
                </c:pt>
                <c:pt idx="2">
                  <c:v>22.34</c:v>
                </c:pt>
                <c:pt idx="3">
                  <c:v>40.630000000000003</c:v>
                </c:pt>
                <c:pt idx="4">
                  <c:v>46.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781-0E4E-A400-CA5A25CCA7DE}"/>
            </c:ext>
          </c:extLst>
        </c:ser>
        <c:ser>
          <c:idx val="2"/>
          <c:order val="2"/>
          <c:tx>
            <c:strRef>
              <c:f>Data!$A$5</c:f>
              <c:strCache>
                <c:ptCount val="1"/>
                <c:pt idx="0">
                  <c:v>Hapi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M$5:$Q$5</c:f>
              <c:numCache>
                <c:formatCode>General</c:formatCode>
                <c:ptCount val="5"/>
                <c:pt idx="0">
                  <c:v>3.73</c:v>
                </c:pt>
                <c:pt idx="1">
                  <c:v>9.91</c:v>
                </c:pt>
                <c:pt idx="2">
                  <c:v>16.54</c:v>
                </c:pt>
                <c:pt idx="3">
                  <c:v>33.159999999999997</c:v>
                </c:pt>
                <c:pt idx="4">
                  <c:v>34.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781-0E4E-A400-CA5A25CCA7DE}"/>
            </c:ext>
          </c:extLst>
        </c:ser>
        <c:ser>
          <c:idx val="1"/>
          <c:order val="3"/>
          <c:tx>
            <c:strRef>
              <c:f>Data!$A$4</c:f>
              <c:strCache>
                <c:ptCount val="1"/>
                <c:pt idx="0">
                  <c:v>Ko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M$4:$Q$4</c:f>
              <c:numCache>
                <c:formatCode>General</c:formatCode>
                <c:ptCount val="5"/>
                <c:pt idx="0">
                  <c:v>2.87</c:v>
                </c:pt>
                <c:pt idx="1">
                  <c:v>7.82</c:v>
                </c:pt>
                <c:pt idx="2">
                  <c:v>14.78</c:v>
                </c:pt>
                <c:pt idx="3">
                  <c:v>25.62</c:v>
                </c:pt>
                <c:pt idx="4">
                  <c:v>26.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781-0E4E-A400-CA5A25CCA7DE}"/>
            </c:ext>
          </c:extLst>
        </c:ser>
        <c:ser>
          <c:idx val="3"/>
          <c:order val="4"/>
          <c:tx>
            <c:strRef>
              <c:f>Data!$A$6</c:f>
              <c:strCache>
                <c:ptCount val="1"/>
                <c:pt idx="0">
                  <c:v>Fastif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M$6:$Q$6</c:f>
              <c:numCache>
                <c:formatCode>General</c:formatCode>
                <c:ptCount val="5"/>
                <c:pt idx="0">
                  <c:v>1.94</c:v>
                </c:pt>
                <c:pt idx="1">
                  <c:v>5.31</c:v>
                </c:pt>
                <c:pt idx="2">
                  <c:v>10.88</c:v>
                </c:pt>
                <c:pt idx="3">
                  <c:v>17.260000000000002</c:v>
                </c:pt>
                <c:pt idx="4">
                  <c:v>18.23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781-0E4E-A400-CA5A25CCA7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0239535"/>
        <c:axId val="1370241215"/>
      </c:lineChart>
      <c:catAx>
        <c:axId val="1370239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SUARIO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0241215"/>
        <c:crosses val="autoZero"/>
        <c:auto val="1"/>
        <c:lblAlgn val="ctr"/>
        <c:lblOffset val="100"/>
        <c:noMultiLvlLbl val="0"/>
      </c:catAx>
      <c:valAx>
        <c:axId val="13702412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ILISEGUNDO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0239535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RROR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4"/>
          <c:order val="0"/>
          <c:tx>
            <c:strRef>
              <c:f>Data!$A$7</c:f>
              <c:strCache>
                <c:ptCount val="1"/>
                <c:pt idx="0">
                  <c:v>Restify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W$7:$AA$7</c:f>
              <c:numCache>
                <c:formatCode>General</c:formatCode>
                <c:ptCount val="5"/>
                <c:pt idx="0">
                  <c:v>0</c:v>
                </c:pt>
                <c:pt idx="1">
                  <c:v>160</c:v>
                </c:pt>
                <c:pt idx="2">
                  <c:v>12000</c:v>
                </c:pt>
                <c:pt idx="3">
                  <c:v>196000</c:v>
                </c:pt>
                <c:pt idx="4">
                  <c:v>1414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87D-CD42-9F60-D2B0E88C1575}"/>
            </c:ext>
          </c:extLst>
        </c:ser>
        <c:ser>
          <c:idx val="0"/>
          <c:order val="1"/>
          <c:tx>
            <c:strRef>
              <c:f>Data!$A$3</c:f>
              <c:strCache>
                <c:ptCount val="1"/>
                <c:pt idx="0">
                  <c:v>Expres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W$3:$AA$3</c:f>
              <c:numCache>
                <c:formatCode>General</c:formatCode>
                <c:ptCount val="5"/>
                <c:pt idx="0">
                  <c:v>0</c:v>
                </c:pt>
                <c:pt idx="1">
                  <c:v>310</c:v>
                </c:pt>
                <c:pt idx="2">
                  <c:v>12000</c:v>
                </c:pt>
                <c:pt idx="3">
                  <c:v>63000</c:v>
                </c:pt>
                <c:pt idx="4">
                  <c:v>288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87D-CD42-9F60-D2B0E88C1575}"/>
            </c:ext>
          </c:extLst>
        </c:ser>
        <c:ser>
          <c:idx val="1"/>
          <c:order val="2"/>
          <c:tx>
            <c:strRef>
              <c:f>Data!$A$4</c:f>
              <c:strCache>
                <c:ptCount val="1"/>
                <c:pt idx="0">
                  <c:v>Ko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W$4:$AA$4</c:f>
              <c:numCache>
                <c:formatCode>General</c:formatCode>
                <c:ptCount val="5"/>
                <c:pt idx="0">
                  <c:v>0</c:v>
                </c:pt>
                <c:pt idx="1">
                  <c:v>300</c:v>
                </c:pt>
                <c:pt idx="2">
                  <c:v>11000</c:v>
                </c:pt>
                <c:pt idx="3">
                  <c:v>35000</c:v>
                </c:pt>
                <c:pt idx="4">
                  <c:v>36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87D-CD42-9F60-D2B0E88C1575}"/>
            </c:ext>
          </c:extLst>
        </c:ser>
        <c:ser>
          <c:idx val="3"/>
          <c:order val="3"/>
          <c:tx>
            <c:strRef>
              <c:f>Data!$A$6</c:f>
              <c:strCache>
                <c:ptCount val="1"/>
                <c:pt idx="0">
                  <c:v>Fastif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W$6:$AA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12000</c:v>
                </c:pt>
                <c:pt idx="3">
                  <c:v>14000</c:v>
                </c:pt>
                <c:pt idx="4">
                  <c:v>3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87D-CD42-9F60-D2B0E88C1575}"/>
            </c:ext>
          </c:extLst>
        </c:ser>
        <c:ser>
          <c:idx val="2"/>
          <c:order val="4"/>
          <c:tx>
            <c:strRef>
              <c:f>Data!$A$5</c:f>
              <c:strCache>
                <c:ptCount val="1"/>
                <c:pt idx="0">
                  <c:v>Hapi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Data!$C$2:$G$2</c:f>
              <c:strCache>
                <c:ptCount val="5"/>
                <c:pt idx="0">
                  <c:v>100</c:v>
                </c:pt>
                <c:pt idx="1">
                  <c:v>250</c:v>
                </c:pt>
                <c:pt idx="2">
                  <c:v>500</c:v>
                </c:pt>
                <c:pt idx="3">
                  <c:v>1000</c:v>
                </c:pt>
                <c:pt idx="4">
                  <c:v>1000 x 5min</c:v>
                </c:pt>
              </c:strCache>
            </c:strRef>
          </c:cat>
          <c:val>
            <c:numRef>
              <c:f>Data!$W$5:$AA$5</c:f>
              <c:numCache>
                <c:formatCode>General</c:formatCode>
                <c:ptCount val="5"/>
                <c:pt idx="0">
                  <c:v>0</c:v>
                </c:pt>
                <c:pt idx="1">
                  <c:v>290</c:v>
                </c:pt>
                <c:pt idx="2">
                  <c:v>12000</c:v>
                </c:pt>
                <c:pt idx="3">
                  <c:v>14000</c:v>
                </c:pt>
                <c:pt idx="4">
                  <c:v>23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87D-CD42-9F60-D2B0E88C15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0239535"/>
        <c:axId val="1370241215"/>
      </c:lineChart>
      <c:catAx>
        <c:axId val="1370239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SUARIO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0241215"/>
        <c:crosses val="autoZero"/>
        <c:auto val="1"/>
        <c:lblAlgn val="ctr"/>
        <c:lblOffset val="100"/>
        <c:noMultiLvlLbl val="0"/>
      </c:catAx>
      <c:valAx>
        <c:axId val="13702412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I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0239535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951E1A-1275-FA44-AA76-9579ED55C2E7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F1373E-F34C-E945-BAE0-A8383FCBF0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4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F1373E-F34C-E945-BAE0-A8383FCBF0E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9325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792440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41061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f0ea74b83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0" name="Google Shape;290;g3f0ea74b83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ttps://</a:t>
            </a:r>
            <a:r>
              <a:rPr lang="en-US" err="1"/>
              <a:t>pixabay.com</a:t>
            </a:r>
            <a:r>
              <a:rPr lang="en-US"/>
              <a:t>/</a:t>
            </a:r>
            <a:r>
              <a:rPr lang="en-US" err="1"/>
              <a:t>en</a:t>
            </a:r>
            <a:r>
              <a:rPr lang="en-US"/>
              <a:t>/laptop-computer-technology-monitor-3190194/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188327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68903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313514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f0ea74b83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0" name="Google Shape;290;g3f0ea74b83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ttps://</a:t>
            </a:r>
            <a:r>
              <a:rPr lang="en-US" err="1"/>
              <a:t>pixabay.com</a:t>
            </a:r>
            <a:r>
              <a:rPr lang="en-US"/>
              <a:t>/</a:t>
            </a:r>
            <a:r>
              <a:rPr lang="en-US" err="1"/>
              <a:t>en</a:t>
            </a:r>
            <a:r>
              <a:rPr lang="en-US"/>
              <a:t>/code-code-editor-coding-computer-1839406/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665300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https://</a:t>
            </a:r>
            <a:r>
              <a:rPr lang="en-US" err="1"/>
              <a:t>www.iconfinder.com</a:t>
            </a:r>
            <a:r>
              <a:rPr lang="en-US"/>
              <a:t>/</a:t>
            </a:r>
            <a:r>
              <a:rPr lang="en-US" err="1"/>
              <a:t>iconsets</a:t>
            </a:r>
            <a:r>
              <a:rPr lang="en-US"/>
              <a:t>/general-offic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425361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556346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78753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82151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312704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519131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7900588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f0ea74b83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0" name="Google Shape;290;g3f0ea74b83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ttps://</a:t>
            </a:r>
            <a:r>
              <a:rPr lang="en-US" err="1"/>
              <a:t>pixabay.com</a:t>
            </a:r>
            <a:r>
              <a:rPr lang="en-US"/>
              <a:t>/</a:t>
            </a:r>
            <a:r>
              <a:rPr lang="en-US" err="1"/>
              <a:t>en</a:t>
            </a:r>
            <a:r>
              <a:rPr lang="en-US"/>
              <a:t>/office-startup-business-home-office-594132/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81028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370498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6634187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f0ea74b83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0" name="Google Shape;290;g3f0ea74b83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ttps://</a:t>
            </a:r>
            <a:r>
              <a:rPr lang="en-US" err="1"/>
              <a:t>pixabay.com</a:t>
            </a:r>
            <a:r>
              <a:rPr lang="en-US"/>
              <a:t>/</a:t>
            </a:r>
            <a:r>
              <a:rPr lang="en-US" err="1"/>
              <a:t>en</a:t>
            </a:r>
            <a:r>
              <a:rPr lang="en-US"/>
              <a:t>/office-startup-business-home-office-594132/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6295419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238076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f0ea74b83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0" name="Google Shape;290;g3f0ea74b83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ttps://</a:t>
            </a:r>
            <a:r>
              <a:rPr lang="en-US" err="1"/>
              <a:t>pixabay.com</a:t>
            </a:r>
            <a:r>
              <a:rPr lang="en-US"/>
              <a:t>/</a:t>
            </a:r>
            <a:r>
              <a:rPr lang="en-US" err="1"/>
              <a:t>en</a:t>
            </a:r>
            <a:r>
              <a:rPr lang="en-US"/>
              <a:t>/office-startup-business-home-office-594132/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626599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007336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555706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7645310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f0ea74b83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0" name="Google Shape;290;g3f0ea74b83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ttps://</a:t>
            </a:r>
            <a:r>
              <a:rPr lang="en-US" err="1"/>
              <a:t>pixabay.com</a:t>
            </a:r>
            <a:r>
              <a:rPr lang="en-US"/>
              <a:t>/</a:t>
            </a:r>
            <a:r>
              <a:rPr lang="en-US" err="1"/>
              <a:t>en</a:t>
            </a:r>
            <a:r>
              <a:rPr lang="en-US"/>
              <a:t>/office-startup-business-home-office-594132/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5261556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9432812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019742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0999662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f0ea74b83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0" name="Google Shape;290;g3f0ea74b83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ttps://</a:t>
            </a:r>
            <a:r>
              <a:rPr lang="en-US" err="1"/>
              <a:t>pixabay.com</a:t>
            </a:r>
            <a:r>
              <a:rPr lang="en-US"/>
              <a:t>/</a:t>
            </a:r>
            <a:r>
              <a:rPr lang="en-US" err="1"/>
              <a:t>en</a:t>
            </a:r>
            <a:r>
              <a:rPr lang="en-US"/>
              <a:t>/office-startup-business-home-office-594132/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304665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495683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481771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2606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f0ea74b83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0" name="Google Shape;290;g3f0ea74b83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ttps://</a:t>
            </a:r>
            <a:r>
              <a:rPr lang="en-US" err="1"/>
              <a:t>pixabay.com</a:t>
            </a:r>
            <a:r>
              <a:rPr lang="en-US"/>
              <a:t>/</a:t>
            </a:r>
            <a:r>
              <a:rPr lang="en-US" err="1"/>
              <a:t>en</a:t>
            </a:r>
            <a:r>
              <a:rPr lang="en-US"/>
              <a:t>/office-notes-notepad-entrepreneur-620817/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ttps://</a:t>
            </a:r>
            <a:r>
              <a:rPr lang="en-US" err="1"/>
              <a:t>hackernoon.com</a:t>
            </a:r>
            <a:r>
              <a:rPr lang="en-US"/>
              <a:t>/restful-api-designing-guidelines-the-best-practices-60e1d954e7c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ttps://</a:t>
            </a:r>
            <a:r>
              <a:rPr lang="en-US" err="1"/>
              <a:t>medium.com</a:t>
            </a:r>
            <a:r>
              <a:rPr lang="en-US"/>
              <a:t>/</a:t>
            </a:r>
            <a:r>
              <a:rPr lang="en-US" err="1"/>
              <a:t>hashmapinc</a:t>
            </a:r>
            <a:r>
              <a:rPr lang="en-US"/>
              <a:t>/rest-good-practices-for-api-design-881439796dc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/>
              <a:t>https://</a:t>
            </a:r>
            <a:r>
              <a:rPr lang="en-US" err="1"/>
              <a:t>blog.mwaysolutions.com</a:t>
            </a:r>
            <a:r>
              <a:rPr lang="en-US"/>
              <a:t>/2014/06/05/10-best-practices-for-better-restful-api/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438407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845154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65703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f44d2ca45_2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f44d2ca45_2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8967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712487"/>
      </p:ext>
    </p:extLst>
  </p:cSld>
  <p:clrMapOvr>
    <a:masterClrMapping/>
  </p:clrMapOvr>
  <p:transition advClick="0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601617"/>
      </p:ext>
    </p:extLst>
  </p:cSld>
  <p:clrMapOvr>
    <a:masterClrMapping/>
  </p:clrMapOvr>
  <p:transition advClick="0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182906"/>
      </p:ext>
    </p:extLst>
  </p:cSld>
  <p:clrMapOvr>
    <a:masterClrMapping/>
  </p:clrMapOvr>
  <p:transition advClick="0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933273"/>
      </p:ext>
    </p:extLst>
  </p:cSld>
  <p:clrMapOvr>
    <a:masterClrMapping/>
  </p:clrMapOvr>
  <p:transition advClick="0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2968" y="491067"/>
            <a:ext cx="9293833" cy="3996266"/>
          </a:xfrm>
        </p:spPr>
        <p:txBody>
          <a:bodyPr>
            <a:normAutofit/>
          </a:bodyPr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2968" y="4741333"/>
            <a:ext cx="10885565" cy="1549400"/>
          </a:xfrm>
        </p:spPr>
        <p:txBody>
          <a:bodyPr/>
          <a:lstStyle>
            <a:lvl1pPr marL="0" indent="0" algn="l">
              <a:buNone/>
              <a:defRPr>
                <a:solidFill>
                  <a:srgbClr val="25ACDC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E49614-5226-4F03-BC9A-C350351F2A41}" type="datetime1">
              <a:rPr lang="en-US"/>
              <a:pPr>
                <a:defRPr/>
              </a:pPr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A4A98"/>
                </a:solidFill>
              </a:defRPr>
            </a:lvl1pPr>
          </a:lstStyle>
          <a:p>
            <a:pPr>
              <a:defRPr/>
            </a:pPr>
            <a:fld id="{110F7DA1-B111-4B87-A227-3A5372F76C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advClick="0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1F22A4-247D-4CE8-A2DD-16F652F47300}" type="datetime1">
              <a:rPr lang="en-US"/>
              <a:pPr>
                <a:defRPr/>
              </a:pPr>
              <a:t>7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7BEC99-BF65-4D84-9656-ABDD648F2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advClick="0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8309" y="1600201"/>
            <a:ext cx="5396091" cy="433671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01"/>
            <a:ext cx="5475111" cy="433671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BF8CEB-29A8-4428-BE86-F52BAD1595A0}" type="datetime1">
              <a:rPr lang="en-US"/>
              <a:pPr>
                <a:defRPr/>
              </a:pPr>
              <a:t>7/24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0A7712-5B3C-44C0-88B2-C1DC4D453E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advClick="0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8309" y="1535113"/>
            <a:ext cx="5398208" cy="63976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rgbClr val="25ACD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309" y="2174875"/>
            <a:ext cx="5398208" cy="376203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479344" cy="63976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rgbClr val="25ACD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479344" cy="376203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5CE82E-23BE-4344-A16A-38820DBDD64C}" type="datetime1">
              <a:rPr lang="en-US"/>
              <a:pPr>
                <a:defRPr/>
              </a:pPr>
              <a:t>7/24/2019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E4A875-B0E0-4317-9AEB-7E963C80D3B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advClick="0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E83953-C28F-4838-ACDD-7BCC7DCA0FDB}" type="datetime1">
              <a:rPr lang="en-US"/>
              <a:pPr>
                <a:defRPr/>
              </a:pPr>
              <a:t>7/24/2019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AB2D09-9217-4E1D-9C2B-8102FE7CDD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advClick="0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9952E3-E9DD-4E79-AF85-6888D03186EF}" type="datetime1">
              <a:rPr lang="en-US"/>
              <a:pPr>
                <a:defRPr/>
              </a:pPr>
              <a:t>7/24/2019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79FFA0-BD33-43A0-A0B1-FDA89FA2D3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advClick="0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150" y="389466"/>
            <a:ext cx="3550828" cy="1045633"/>
          </a:xfrm>
        </p:spPr>
        <p:txBody>
          <a:bodyPr>
            <a:normAutofit/>
          </a:bodyPr>
          <a:lstStyle>
            <a:lvl1pPr algn="l">
              <a:lnSpc>
                <a:spcPts val="2000"/>
              </a:lnSpc>
              <a:defRPr sz="1600" b="1" cap="none"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9467" y="389467"/>
            <a:ext cx="7494309" cy="5505508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34150" y="1549401"/>
            <a:ext cx="3550828" cy="4345575"/>
          </a:xfrm>
        </p:spPr>
        <p:txBody>
          <a:bodyPr/>
          <a:lstStyle>
            <a:lvl1pPr marL="0" indent="0">
              <a:buNone/>
              <a:defRPr sz="1400">
                <a:solidFill>
                  <a:srgbClr val="838F99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DD2BC7-DC3F-4FA7-8CFC-19AFFB2DB599}" type="datetime1">
              <a:rPr lang="en-US"/>
              <a:pPr>
                <a:defRPr/>
              </a:pPr>
              <a:t>7/24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65705D-2BBF-433F-A1C7-B334F1D7C9F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advClick="0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709475"/>
      </p:ext>
    </p:extLst>
  </p:cSld>
  <p:clrMapOvr>
    <a:masterClrMapping/>
  </p:clrMapOvr>
  <p:transition advClick="0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023" y="4800600"/>
            <a:ext cx="11029244" cy="566738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87023" y="457201"/>
            <a:ext cx="11029244" cy="427037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_tradnl" noProof="0"/>
              <a:t>Drag picture to placeholder or click icon to add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7023" y="5367338"/>
            <a:ext cx="11029245" cy="79639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675E6D-ADDC-41EB-B909-95E2EDFBDA79}" type="datetime1">
              <a:rPr lang="en-US"/>
              <a:pPr>
                <a:defRPr/>
              </a:pPr>
              <a:t>7/24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664539-2973-4D96-AC07-8ACF35EEC5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advClick="0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717556"/>
      </p:ext>
    </p:extLst>
  </p:cSld>
  <p:clrMapOvr>
    <a:masterClrMapping/>
  </p:clrMapOvr>
  <p:transition advClick="0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240629"/>
      </p:ext>
    </p:extLst>
  </p:cSld>
  <p:clrMapOvr>
    <a:masterClrMapping/>
  </p:clrMapOvr>
  <p:transition advClick="0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104690"/>
      </p:ext>
    </p:extLst>
  </p:cSld>
  <p:clrMapOvr>
    <a:masterClrMapping/>
  </p:clrMapOvr>
  <p:transition advClick="0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11461"/>
      </p:ext>
    </p:extLst>
  </p:cSld>
  <p:clrMapOvr>
    <a:masterClrMapping/>
  </p:clrMapOvr>
  <p:transition advClick="0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945874"/>
      </p:ext>
    </p:extLst>
  </p:cSld>
  <p:clrMapOvr>
    <a:masterClrMapping/>
  </p:clrMapOvr>
  <p:transition advClick="0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676187"/>
      </p:ext>
    </p:extLst>
  </p:cSld>
  <p:clrMapOvr>
    <a:masterClrMapping/>
  </p:clrMapOvr>
  <p:transition advClick="0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22601"/>
      </p:ext>
    </p:extLst>
  </p:cSld>
  <p:clrMapOvr>
    <a:masterClrMapping/>
  </p:clrMapOvr>
  <p:transition advClick="0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7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6C6C6F-4F98-CE44-BD18-219206B32C7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7C53A7-927C-1540-BBF8-7FA39A2DC8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695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1" r:id="rId12"/>
  </p:sldLayoutIdLst>
  <p:transition advClick="0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" name="1 Objeto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61434" y="319088"/>
            <a:ext cx="11298767" cy="373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s-PE"/>
              <a:t>Haga clic para cambiar el estilo de título	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99017" y="1509713"/>
            <a:ext cx="11074400" cy="4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PE"/>
              <a:t>Haga clic para modificar el estilo de texto del patrón</a:t>
            </a:r>
          </a:p>
          <a:p>
            <a:pPr lvl="1"/>
            <a:r>
              <a:rPr lang="en-US" altLang="es-PE"/>
              <a:t>Segundo nivel</a:t>
            </a:r>
          </a:p>
          <a:p>
            <a:pPr lvl="2"/>
            <a:r>
              <a:rPr lang="en-US" altLang="es-PE"/>
              <a:t>Tercer nivel</a:t>
            </a:r>
          </a:p>
          <a:p>
            <a:pPr lvl="3"/>
            <a:r>
              <a:rPr lang="en-US" altLang="es-PE"/>
              <a:t>Cuarto nivel</a:t>
            </a:r>
          </a:p>
          <a:p>
            <a:pPr lvl="4"/>
            <a:r>
              <a:rPr lang="en-US" altLang="es-PE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52551" y="6605588"/>
            <a:ext cx="1382183" cy="2143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9D70AE"/>
                </a:solidFill>
                <a:latin typeface="Arial" charset="0"/>
                <a:cs typeface="Arial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43A7BA2-08F2-4B2B-A4E6-882261909F9D}" type="datetime1">
              <a:rPr lang="en-US" smtClean="0">
                <a:ea typeface="MS PGothic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7/24/2019</a:t>
            </a:fld>
            <a:endParaRPr lang="en-US"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34734" y="6605588"/>
            <a:ext cx="6726767" cy="2143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9D70AE"/>
                </a:solidFill>
                <a:latin typeface="Arial" charset="0"/>
                <a:cs typeface="Arial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ea typeface="MS PGothic" pitchFamily="34" charset="-128"/>
              </a:rPr>
              <a:t>Presentación</a:t>
            </a:r>
          </a:p>
        </p:txBody>
      </p:sp>
      <p:sp>
        <p:nvSpPr>
          <p:cNvPr id="103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3501" y="6654800"/>
            <a:ext cx="666751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rgbClr val="9D70AE"/>
                </a:solidFill>
                <a:latin typeface="Arial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91ED54FA-31F4-4AB2-B676-99484F11160C}" type="slidenum">
              <a:rPr lang="en-US" smtClean="0">
                <a:ea typeface="MS PGothic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69440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</p:sldLayoutIdLst>
  <p:transition advClick="0">
    <p:fade/>
  </p:transition>
  <p:hf hdr="0"/>
  <p:txStyles>
    <p:titleStyle>
      <a:lvl1pPr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 kern="1200">
          <a:solidFill>
            <a:srgbClr val="3A4A98"/>
          </a:solidFill>
          <a:latin typeface="Arial"/>
          <a:ea typeface="MS PGothic" pitchFamily="34" charset="-128"/>
          <a:cs typeface="Arial"/>
        </a:defRPr>
      </a:lvl1pPr>
      <a:lvl2pPr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  <a:cs typeface="Arial" pitchFamily="34" charset="0"/>
        </a:defRPr>
      </a:lvl2pPr>
      <a:lvl3pPr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  <a:cs typeface="Arial" pitchFamily="34" charset="0"/>
        </a:defRPr>
      </a:lvl3pPr>
      <a:lvl4pPr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  <a:cs typeface="Arial" pitchFamily="34" charset="0"/>
        </a:defRPr>
      </a:lvl4pPr>
      <a:lvl5pPr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  <a:cs typeface="Arial" pitchFamily="34" charset="0"/>
        </a:defRPr>
      </a:lvl5pPr>
      <a:lvl6pPr marL="457200"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</a:defRPr>
      </a:lvl6pPr>
      <a:lvl7pPr marL="914400"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</a:defRPr>
      </a:lvl7pPr>
      <a:lvl8pPr marL="1371600"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</a:defRPr>
      </a:lvl8pPr>
      <a:lvl9pPr marL="1828800"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</a:defRPr>
      </a:lvl9pPr>
    </p:titleStyle>
    <p:bodyStyle>
      <a:lvl1pPr marL="149225" indent="-149225" algn="l" defTabSz="457200" rtl="0" eaLnBrk="1" fontAlgn="base" hangingPunct="1">
        <a:spcBef>
          <a:spcPct val="20000"/>
        </a:spcBef>
        <a:spcAft>
          <a:spcPct val="0"/>
        </a:spcAft>
        <a:buClr>
          <a:srgbClr val="3A4A98"/>
        </a:buClr>
        <a:buSzPct val="120000"/>
        <a:buChar char="•"/>
        <a:defRPr sz="1400" kern="1200">
          <a:solidFill>
            <a:srgbClr val="4B5C68"/>
          </a:solidFill>
          <a:latin typeface="Arial"/>
          <a:ea typeface="MS PGothic" pitchFamily="34" charset="-128"/>
          <a:cs typeface="Arial"/>
        </a:defRPr>
      </a:lvl1pPr>
      <a:lvl2pPr marL="304800" indent="-153988" algn="l" defTabSz="457200" rtl="0" eaLnBrk="1" fontAlgn="base" hangingPunct="1">
        <a:spcBef>
          <a:spcPct val="20000"/>
        </a:spcBef>
        <a:spcAft>
          <a:spcPct val="0"/>
        </a:spcAft>
        <a:buClr>
          <a:srgbClr val="6D178B"/>
        </a:buClr>
        <a:buSzPct val="90000"/>
        <a:buFont typeface="Wingdings" pitchFamily="2" charset="2"/>
        <a:buChar char="§"/>
        <a:defRPr sz="1400" kern="1200">
          <a:solidFill>
            <a:srgbClr val="4B5C68"/>
          </a:solidFill>
          <a:latin typeface="Arial"/>
          <a:ea typeface="MS PGothic" pitchFamily="34" charset="-128"/>
          <a:cs typeface="Arial"/>
        </a:defRPr>
      </a:lvl2pPr>
      <a:lvl3pPr marL="438150" indent="-131763" algn="l" defTabSz="457200" rtl="0" eaLnBrk="1" fontAlgn="base" hangingPunct="1">
        <a:spcBef>
          <a:spcPct val="20000"/>
        </a:spcBef>
        <a:spcAft>
          <a:spcPct val="0"/>
        </a:spcAft>
        <a:buClr>
          <a:srgbClr val="6D178B"/>
        </a:buClr>
        <a:buSzPct val="90000"/>
        <a:buFont typeface="Arial" pitchFamily="34" charset="0"/>
        <a:buChar char="•"/>
        <a:defRPr sz="1400" kern="1200">
          <a:solidFill>
            <a:srgbClr val="4B5C68"/>
          </a:solidFill>
          <a:latin typeface="Arial"/>
          <a:ea typeface="MS PGothic" pitchFamily="34" charset="-128"/>
          <a:cs typeface="Arial"/>
        </a:defRPr>
      </a:lvl3pPr>
      <a:lvl4pPr marL="609600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3A4A98"/>
        </a:buClr>
        <a:buFont typeface="Arial" pitchFamily="34" charset="0"/>
        <a:buChar char="–"/>
        <a:defRPr sz="1400" kern="1200">
          <a:solidFill>
            <a:srgbClr val="4B5C68"/>
          </a:solidFill>
          <a:latin typeface="Arial"/>
          <a:ea typeface="MS PGothic" pitchFamily="34" charset="-128"/>
          <a:cs typeface="Arial"/>
        </a:defRPr>
      </a:lvl4pPr>
      <a:lvl5pPr marL="781050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16ADDC"/>
        </a:buClr>
        <a:buFont typeface="Arial" pitchFamily="34" charset="0"/>
        <a:buChar char="»"/>
        <a:defRPr sz="1400" kern="1200">
          <a:solidFill>
            <a:srgbClr val="4B5C68"/>
          </a:solidFill>
          <a:latin typeface="Arial"/>
          <a:ea typeface="MS PGothic" pitchFamily="34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5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tools.ietf.org/html/rfc7807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pmtrends.com/koa-vs-fastify-vs-restify-vs-hapi-vs-express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tif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pmtrends.com/koa-vs-fastify-vs-restify-vs-hapi-vs-express" TargetMode="External"/><Relationship Id="rId3" Type="http://schemas.openxmlformats.org/officeDocument/2006/relationships/hyperlink" Target="https://github.com/expressjs/express" TargetMode="External"/><Relationship Id="rId7" Type="http://schemas.openxmlformats.org/officeDocument/2006/relationships/hyperlink" Target="https://github.com/restify/node-restify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github.com/fastify/fastify" TargetMode="External"/><Relationship Id="rId5" Type="http://schemas.openxmlformats.org/officeDocument/2006/relationships/hyperlink" Target="https://github.com/hapijs/hapi" TargetMode="External"/><Relationship Id="rId4" Type="http://schemas.openxmlformats.org/officeDocument/2006/relationships/hyperlink" Target="https://github.com/koajs/koa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astify.io/organisations/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tiff"/><Relationship Id="rId5" Type="http://schemas.openxmlformats.org/officeDocument/2006/relationships/hyperlink" Target="https://hapijs.com/community" TargetMode="External"/><Relationship Id="rId4" Type="http://schemas.openxmlformats.org/officeDocument/2006/relationships/hyperlink" Target="https://stackshare.io/koa/in-stacks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0.png"/><Relationship Id="rId4" Type="http://schemas.openxmlformats.org/officeDocument/2006/relationships/image" Target="../media/image2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2.png"/><Relationship Id="rId4" Type="http://schemas.openxmlformats.org/officeDocument/2006/relationships/image" Target="../media/image2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s://raygun.com/blog/nodejs-vs-hapi-express-restify-koa/" TargetMode="Externa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://senecajs.org/" TargetMode="External"/><Relationship Id="rId5" Type="http://schemas.openxmlformats.org/officeDocument/2006/relationships/hyperlink" Target="https://moleculer.services/" TargetMode="External"/><Relationship Id="rId4" Type="http://schemas.openxmlformats.org/officeDocument/2006/relationships/hyperlink" Target="https://medium.com/car2godevs/there-are-expressjs-alternatives-590d14c58c1c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tools.ietf.org/html/rfc7232#section-4.1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4" name="Picture 1" descr="fondo.psd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5081"/>
            <a:ext cx="12192000" cy="6873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784502" y="2757830"/>
            <a:ext cx="10035898" cy="29188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70000"/>
              </a:lnSpc>
            </a:pPr>
            <a:r>
              <a:rPr lang="es-ES_tradnl" sz="5800">
                <a:solidFill>
                  <a:srgbClr val="7030A0"/>
                </a:solidFill>
                <a:latin typeface="Lato"/>
                <a:ea typeface="Museo Sans 500" charset="0"/>
                <a:cs typeface="Museo Sans 500" charset="0"/>
              </a:rPr>
              <a:t>Estándares de Microservicios</a:t>
            </a:r>
            <a:endParaRPr lang="es-ES_tradnl" sz="5800" err="1">
              <a:solidFill>
                <a:srgbClr val="7030A0"/>
              </a:solidFill>
              <a:latin typeface="Lato" panose="020F0502020204030203" pitchFamily="34" charset="77"/>
              <a:ea typeface="Museo Sans 500" charset="0"/>
              <a:cs typeface="Museo Sans 500" charset="0"/>
            </a:endParaRPr>
          </a:p>
          <a:p>
            <a:pPr>
              <a:lnSpc>
                <a:spcPct val="170000"/>
              </a:lnSpc>
            </a:pPr>
            <a:r>
              <a:rPr lang="es-ES_tradnl" sz="2900">
                <a:solidFill>
                  <a:srgbClr val="00B0F0"/>
                </a:solidFill>
                <a:latin typeface="Lato" panose="020F0502020204030203" pitchFamily="34" charset="77"/>
                <a:ea typeface="Museo Sans 500" charset="0"/>
                <a:cs typeface="Museo Sans 500" charset="0"/>
              </a:rPr>
              <a:t>#</a:t>
            </a:r>
            <a:r>
              <a:rPr lang="es-ES_tradnl" sz="2900" err="1">
                <a:solidFill>
                  <a:srgbClr val="00B0F0"/>
                </a:solidFill>
                <a:latin typeface="Lato" panose="020F0502020204030203" pitchFamily="34" charset="77"/>
                <a:ea typeface="Museo Sans 500" charset="0"/>
                <a:cs typeface="Museo Sans 500" charset="0"/>
              </a:rPr>
              <a:t>ArquitecturaTD</a:t>
            </a:r>
            <a:endParaRPr lang="es-ES_tradnl" sz="2900">
              <a:solidFill>
                <a:srgbClr val="00B0F0"/>
              </a:solidFill>
              <a:latin typeface="Lato" panose="020F0502020204030203" pitchFamily="34" charset="77"/>
              <a:ea typeface="Museo Sans 500" charset="0"/>
              <a:cs typeface="Museo Sans 500" charset="0"/>
            </a:endParaRPr>
          </a:p>
          <a:p>
            <a:pPr>
              <a:lnSpc>
                <a:spcPct val="170000"/>
              </a:lnSpc>
            </a:pPr>
            <a:endParaRPr lang="es-ES_tradnl" sz="2000">
              <a:solidFill>
                <a:srgbClr val="00B0F0"/>
              </a:solidFill>
              <a:latin typeface="Lato" panose="020F0502020204030203" pitchFamily="34" charset="77"/>
              <a:ea typeface="Museo Sans 500" charset="0"/>
              <a:cs typeface="Museo Sans 500" charset="0"/>
            </a:endParaRPr>
          </a:p>
          <a:p>
            <a:pPr>
              <a:lnSpc>
                <a:spcPct val="170000"/>
              </a:lnSpc>
            </a:pPr>
            <a:endParaRPr lang="es-ES_tradnl" sz="2000">
              <a:solidFill>
                <a:srgbClr val="00B0F0"/>
              </a:solidFill>
              <a:latin typeface="Lato" panose="020F0502020204030203" pitchFamily="34" charset="77"/>
              <a:ea typeface="Museo Sans 500" charset="0"/>
              <a:cs typeface="Museo Sans 500" charset="0"/>
            </a:endParaRPr>
          </a:p>
          <a:p>
            <a:pPr>
              <a:lnSpc>
                <a:spcPct val="170000"/>
              </a:lnSpc>
            </a:pPr>
            <a:endParaRPr lang="es-ES_tradnl" sz="2000">
              <a:solidFill>
                <a:srgbClr val="00B0F0"/>
              </a:solidFill>
              <a:latin typeface="Lato" panose="020F0502020204030203" pitchFamily="34" charset="77"/>
              <a:ea typeface="Museo Sans 500" charset="0"/>
              <a:cs typeface="Museo Sans 500" charset="0"/>
            </a:endParaRPr>
          </a:p>
          <a:p>
            <a:pPr>
              <a:lnSpc>
                <a:spcPct val="170000"/>
              </a:lnSpc>
            </a:pPr>
            <a:endParaRPr lang="es-ES_tradnl" sz="2000">
              <a:solidFill>
                <a:srgbClr val="00B0F0"/>
              </a:solidFill>
              <a:latin typeface="Lato" panose="020F0502020204030203" pitchFamily="34" charset="77"/>
              <a:ea typeface="Museo Sans 500" charset="0"/>
              <a:cs typeface="Museo Sans 500" charset="0"/>
            </a:endParaRPr>
          </a:p>
          <a:p>
            <a:pPr>
              <a:lnSpc>
                <a:spcPct val="170000"/>
              </a:lnSpc>
            </a:pPr>
            <a:r>
              <a:rPr lang="es-ES_tradnl" sz="2900">
                <a:solidFill>
                  <a:srgbClr val="002060"/>
                </a:solidFill>
                <a:latin typeface="Lato" panose="020F0502020204030203" pitchFamily="34" charset="77"/>
                <a:ea typeface="Museo Sans 300" charset="0"/>
                <a:cs typeface="Museo Sans 300" charset="0"/>
              </a:rPr>
              <a:t>Diciembre</a:t>
            </a:r>
            <a:r>
              <a:rPr lang="en-US" sz="2900">
                <a:solidFill>
                  <a:srgbClr val="002060"/>
                </a:solidFill>
                <a:latin typeface="Lato" panose="020F0502020204030203" pitchFamily="34" charset="77"/>
                <a:ea typeface="Museo Sans 300" charset="0"/>
                <a:cs typeface="Museo Sans 300" charset="0"/>
              </a:rPr>
              <a:t> 2018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-13883"/>
            <a:ext cx="1792979" cy="2361842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245" y="3695936"/>
            <a:ext cx="4833255" cy="3383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9611"/>
      </p:ext>
    </p:extLst>
  </p:cSld>
  <p:clrMapOvr>
    <a:masterClrMapping/>
  </p:clrMapOvr>
  <p:transition advClick="0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Manejo de errores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1BA8D78-871D-3440-849F-D8B4DDE2A528}"/>
              </a:ext>
            </a:extLst>
          </p:cNvPr>
          <p:cNvSpPr txBox="1"/>
          <p:nvPr/>
        </p:nvSpPr>
        <p:spPr>
          <a:xfrm>
            <a:off x="8887981" y="6308203"/>
            <a:ext cx="28884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200"/>
              <a:t>Fuente: </a:t>
            </a:r>
            <a:r>
              <a:rPr lang="es-ES_tradnl" sz="1200">
                <a:hlinkClick r:id="rId3"/>
              </a:rPr>
              <a:t>https://tools.ietf.org/html/rfc7807</a:t>
            </a:r>
            <a:r>
              <a:rPr lang="es-ES_tradnl" sz="1200"/>
              <a:t> </a:t>
            </a:r>
          </a:p>
        </p:txBody>
      </p:sp>
      <p:sp>
        <p:nvSpPr>
          <p:cNvPr id="10" name="Google Shape;64;p14">
            <a:extLst>
              <a:ext uri="{FF2B5EF4-FFF2-40B4-BE49-F238E27FC236}">
                <a16:creationId xmlns:a16="http://schemas.microsoft.com/office/drawing/2014/main" id="{65DBC95B-93B3-F842-A13A-D90677026A0C}"/>
              </a:ext>
            </a:extLst>
          </p:cNvPr>
          <p:cNvSpPr txBox="1"/>
          <p:nvPr/>
        </p:nvSpPr>
        <p:spPr>
          <a:xfrm>
            <a:off x="6096000" y="1435261"/>
            <a:ext cx="5660400" cy="4872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Los errores deben ser devueltos únicamente por el </a:t>
            </a:r>
            <a:r>
              <a:rPr lang="es-ES_tradnl" b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HTTP STATUS 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4XX o 5XX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Se debe respetar el esquema de la siguiente imagen, de acuerdo al estándar </a:t>
            </a:r>
            <a:r>
              <a:rPr lang="es-ES_tradnl" b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RFC 7807 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(</a:t>
            </a:r>
            <a:r>
              <a:rPr lang="es-ES_tradnl" i="1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Problem</a:t>
            </a:r>
            <a:r>
              <a:rPr lang="es-ES_tradnl" i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s-ES_tradnl" i="1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details</a:t>
            </a:r>
            <a:r>
              <a:rPr lang="es-ES_tradnl" i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s-ES_tradnl" i="1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for</a:t>
            </a:r>
            <a:r>
              <a:rPr lang="es-ES_tradnl" i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 HTTP </a:t>
            </a:r>
            <a:r>
              <a:rPr lang="es-ES_tradnl" i="1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APIs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)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A6F318-D890-AB48-8CB5-683B1FCE3385}"/>
              </a:ext>
            </a:extLst>
          </p:cNvPr>
          <p:cNvSpPr/>
          <p:nvPr/>
        </p:nvSpPr>
        <p:spPr>
          <a:xfrm>
            <a:off x="480000" y="1886573"/>
            <a:ext cx="5616000" cy="3970318"/>
          </a:xfrm>
          <a:prstGeom prst="rect">
            <a:avLst/>
          </a:prstGeom>
          <a:solidFill>
            <a:srgbClr val="1E1E1E"/>
          </a:solidFill>
        </p:spPr>
        <p:txBody>
          <a:bodyPr wrap="square">
            <a:spAutoFit/>
          </a:bodyPr>
          <a:lstStyle/>
          <a:p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HTTP/</a:t>
            </a:r>
            <a:r>
              <a:rPr lang="en-US" sz="1400">
                <a:solidFill>
                  <a:srgbClr val="B5CEA8"/>
                </a:solidFill>
                <a:latin typeface="Menlo" panose="020B0609030804020204" pitchFamily="49" charset="0"/>
              </a:rPr>
              <a:t>1.1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en-US" sz="1400">
                <a:solidFill>
                  <a:srgbClr val="B5CEA8"/>
                </a:solidFill>
                <a:latin typeface="Menlo" panose="020B0609030804020204" pitchFamily="49" charset="0"/>
              </a:rPr>
              <a:t>400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 Bad Request</a:t>
            </a:r>
          </a:p>
          <a:p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Content-Type: application/</a:t>
            </a:r>
            <a:r>
              <a:rPr lang="en-US" sz="1400" err="1">
                <a:solidFill>
                  <a:srgbClr val="D4D4D4"/>
                </a:solidFill>
                <a:latin typeface="Menlo" panose="020B0609030804020204" pitchFamily="49" charset="0"/>
              </a:rPr>
              <a:t>json</a:t>
            </a:r>
            <a:endParaRPr lang="en-US" sz="140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{</a:t>
            </a:r>
          </a:p>
          <a:p>
            <a:r>
              <a:rPr lang="en-US" sz="1400">
                <a:solidFill>
                  <a:srgbClr val="9CDCFE"/>
                </a:solidFill>
                <a:latin typeface="Menlo" panose="020B0609030804020204" pitchFamily="49" charset="0"/>
              </a:rPr>
              <a:t>"status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en-US" sz="1400">
                <a:solidFill>
                  <a:srgbClr val="B5CEA8"/>
                </a:solidFill>
                <a:latin typeface="Menlo" panose="020B0609030804020204" pitchFamily="49" charset="0"/>
              </a:rPr>
              <a:t>404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en-US" sz="1400">
                <a:solidFill>
                  <a:srgbClr val="9CDCFE"/>
                </a:solidFill>
                <a:latin typeface="Menlo" panose="020B0609030804020204" pitchFamily="49" charset="0"/>
              </a:rPr>
              <a:t>"title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Debe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ingresar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todos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los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parámetros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en-US" sz="1400">
                <a:solidFill>
                  <a:srgbClr val="9CDCFE"/>
                </a:solidFill>
                <a:latin typeface="Menlo" panose="020B0609030804020204" pitchFamily="49" charset="0"/>
              </a:rPr>
              <a:t>"type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about:blank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en-US" sz="1400">
                <a:solidFill>
                  <a:srgbClr val="9CDCFE"/>
                </a:solidFill>
                <a:latin typeface="Menlo" panose="020B0609030804020204" pitchFamily="49" charset="0"/>
              </a:rPr>
              <a:t>"detail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Los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siguientes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parámetros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cuentan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	  con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errores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: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nombre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,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precio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en-US" sz="1400">
                <a:solidFill>
                  <a:srgbClr val="9CDCFE"/>
                </a:solidFill>
                <a:latin typeface="Menlo" panose="020B0609030804020204" pitchFamily="49" charset="0"/>
              </a:rPr>
              <a:t>"instance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/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producto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en-US" sz="1400">
                <a:solidFill>
                  <a:srgbClr val="9CDCFE"/>
                </a:solidFill>
                <a:latin typeface="Menlo" panose="020B0609030804020204" pitchFamily="49" charset="0"/>
              </a:rPr>
              <a:t>"invalid-</a:t>
            </a:r>
            <a:r>
              <a:rPr lang="en-US" sz="1400" err="1">
                <a:solidFill>
                  <a:srgbClr val="9CDCFE"/>
                </a:solidFill>
                <a:latin typeface="Menlo" panose="020B0609030804020204" pitchFamily="49" charset="0"/>
              </a:rPr>
              <a:t>params</a:t>
            </a:r>
            <a:r>
              <a:rPr lang="en-US" sz="1400">
                <a:solidFill>
                  <a:srgbClr val="9CDCFE"/>
                </a:solidFill>
                <a:latin typeface="Menlo" panose="020B0609030804020204" pitchFamily="49" charset="0"/>
              </a:rPr>
              <a:t>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: [</a:t>
            </a:r>
          </a:p>
          <a:p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   { </a:t>
            </a:r>
            <a:r>
              <a:rPr lang="en-US" sz="1400">
                <a:solidFill>
                  <a:srgbClr val="9CDCFE"/>
                </a:solidFill>
                <a:latin typeface="Menlo" panose="020B0609030804020204" pitchFamily="49" charset="0"/>
              </a:rPr>
              <a:t>"name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nombre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</a:p>
          <a:p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     </a:t>
            </a:r>
            <a:r>
              <a:rPr lang="en-US" sz="1400">
                <a:solidFill>
                  <a:srgbClr val="9CDCFE"/>
                </a:solidFill>
                <a:latin typeface="Menlo" panose="020B0609030804020204" pitchFamily="49" charset="0"/>
              </a:rPr>
              <a:t>"reason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Este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parámetro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es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obligatorio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   },</a:t>
            </a:r>
          </a:p>
          <a:p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   { </a:t>
            </a:r>
            <a:r>
              <a:rPr lang="en-US" sz="1400">
                <a:solidFill>
                  <a:srgbClr val="9CDCFE"/>
                </a:solidFill>
                <a:latin typeface="Menlo" panose="020B0609030804020204" pitchFamily="49" charset="0"/>
              </a:rPr>
              <a:t>"name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precio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</a:p>
          <a:p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     </a:t>
            </a:r>
            <a:r>
              <a:rPr lang="en-US" sz="1400">
                <a:solidFill>
                  <a:srgbClr val="9CDCFE"/>
                </a:solidFill>
                <a:latin typeface="Menlo" panose="020B0609030804020204" pitchFamily="49" charset="0"/>
              </a:rPr>
              <a:t>"reason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"El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precio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debe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ser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en-US" sz="1400" err="1">
                <a:solidFill>
                  <a:srgbClr val="CE9178"/>
                </a:solidFill>
                <a:latin typeface="Menlo" panose="020B0609030804020204" pitchFamily="49" charset="0"/>
              </a:rPr>
              <a:t>menor</a:t>
            </a:r>
            <a:r>
              <a:rPr lang="en-US" sz="1400">
                <a:solidFill>
                  <a:srgbClr val="CE9178"/>
                </a:solidFill>
                <a:latin typeface="Menlo" panose="020B0609030804020204" pitchFamily="49" charset="0"/>
              </a:rPr>
              <a:t> a 100"</a:t>
            </a:r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   }]</a:t>
            </a:r>
          </a:p>
          <a:p>
            <a:r>
              <a:rPr lang="en-US" sz="140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  <a:endParaRPr lang="en-US" sz="1400" b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540516"/>
      </p:ext>
    </p:extLst>
  </p:cSld>
  <p:clrMapOvr>
    <a:masterClrMapping/>
  </p:clrMapOvr>
  <p:transition advClick="0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 err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Versionamiento</a:t>
            </a:r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 y </a:t>
            </a:r>
            <a:r>
              <a:rPr lang="es-ES" sz="3200" b="1" err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custom</a:t>
            </a:r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s-ES" sz="3200" b="1" err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headers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29AA7BF-2B3C-774F-B1D2-E204C3DE0320}"/>
              </a:ext>
            </a:extLst>
          </p:cNvPr>
          <p:cNvSpPr txBox="1"/>
          <p:nvPr/>
        </p:nvSpPr>
        <p:spPr>
          <a:xfrm>
            <a:off x="480000" y="2532904"/>
            <a:ext cx="5616000" cy="2677656"/>
          </a:xfrm>
          <a:prstGeom prst="rect">
            <a:avLst/>
          </a:prstGeom>
          <a:solidFill>
            <a:srgbClr val="1E1E1E"/>
          </a:solidFill>
        </p:spPr>
        <p:txBody>
          <a:bodyPr wrap="square" rtlCol="0">
            <a:spAutoFit/>
          </a:bodyPr>
          <a:lstStyle/>
          <a:p>
            <a:r>
              <a:rPr lang="es-ES_tradnl" sz="2800">
                <a:solidFill>
                  <a:srgbClr val="9CDCFE"/>
                </a:solidFill>
                <a:latin typeface="Menlo" panose="020B0609030804020204" pitchFamily="49" charset="0"/>
                <a:sym typeface="Lato"/>
              </a:rPr>
              <a:t>URL</a:t>
            </a:r>
          </a:p>
          <a:p>
            <a:r>
              <a:rPr lang="en-US" sz="2000" err="1">
                <a:solidFill>
                  <a:srgbClr val="CE9178"/>
                </a:solidFill>
                <a:latin typeface="Menlo" panose="020B0609030804020204" pitchFamily="49" charset="0"/>
              </a:rPr>
              <a:t>api.belcorp.biz</a:t>
            </a:r>
            <a:r>
              <a:rPr lang="en-US" sz="200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en-US" sz="2000" err="1">
                <a:solidFill>
                  <a:srgbClr val="CE9178"/>
                </a:solidFill>
                <a:latin typeface="Menlo" panose="020B0609030804020204" pitchFamily="49" charset="0"/>
              </a:rPr>
              <a:t>productos</a:t>
            </a:r>
            <a:endParaRPr lang="en-US" sz="200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s-ES_tradnl" sz="2800">
              <a:solidFill>
                <a:schemeClr val="bg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  <a:sym typeface="Lato"/>
            </a:endParaRPr>
          </a:p>
          <a:p>
            <a:r>
              <a:rPr lang="es-ES_tradnl" sz="2800">
                <a:solidFill>
                  <a:srgbClr val="9CDCFE"/>
                </a:solidFill>
                <a:latin typeface="Menlo" panose="020B0609030804020204" pitchFamily="49" charset="0"/>
                <a:sym typeface="Lato"/>
              </a:rPr>
              <a:t>HEADERS</a:t>
            </a:r>
            <a:endParaRPr lang="es-ES_tradnl" sz="2800">
              <a:solidFill>
                <a:schemeClr val="bg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  <a:sym typeface="Lato"/>
            </a:endParaRPr>
          </a:p>
          <a:p>
            <a:r>
              <a:rPr lang="es-ES_tradnl" sz="2000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api-</a:t>
            </a:r>
            <a:r>
              <a:rPr lang="es-ES_tradnl" sz="2000" err="1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version</a:t>
            </a:r>
            <a:r>
              <a:rPr lang="es-ES_tradnl" sz="2000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: 	1.0</a:t>
            </a:r>
          </a:p>
          <a:p>
            <a:r>
              <a:rPr lang="es-ES_tradnl" sz="2000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api-</a:t>
            </a:r>
            <a:r>
              <a:rPr lang="es-ES_tradnl" sz="2000" err="1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ip</a:t>
            </a:r>
            <a:r>
              <a:rPr lang="es-ES_tradnl" sz="2000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-</a:t>
            </a:r>
            <a:r>
              <a:rPr lang="es-ES_tradnl" sz="2000" err="1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unico</a:t>
            </a:r>
            <a:r>
              <a:rPr lang="es-ES_tradnl" sz="2000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:	aXAtdW5pY28=</a:t>
            </a:r>
          </a:p>
          <a:p>
            <a:r>
              <a:rPr lang="es-ES_tradnl" sz="2000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api-</a:t>
            </a:r>
            <a:r>
              <a:rPr lang="es-ES_tradnl" sz="2000" err="1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device</a:t>
            </a:r>
            <a:r>
              <a:rPr lang="es-ES_tradnl" sz="2000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:		</a:t>
            </a:r>
            <a:r>
              <a:rPr lang="es-ES_tradnl" sz="2000" err="1">
                <a:solidFill>
                  <a:srgbClr val="CE9178"/>
                </a:solidFill>
                <a:latin typeface="Menlo" panose="020B0609030804020204" pitchFamily="49" charset="0"/>
                <a:sym typeface="Lato"/>
              </a:rPr>
              <a:t>mobile</a:t>
            </a:r>
            <a:endParaRPr lang="es-ES_tradnl" sz="2000">
              <a:solidFill>
                <a:srgbClr val="CE9178"/>
              </a:solidFill>
              <a:latin typeface="Menlo" panose="020B0609030804020204" pitchFamily="49" charset="0"/>
              <a:sym typeface="Lato"/>
            </a:endParaRPr>
          </a:p>
        </p:txBody>
      </p:sp>
      <p:sp>
        <p:nvSpPr>
          <p:cNvPr id="14" name="Google Shape;64;p14">
            <a:extLst>
              <a:ext uri="{FF2B5EF4-FFF2-40B4-BE49-F238E27FC236}">
                <a16:creationId xmlns:a16="http://schemas.microsoft.com/office/drawing/2014/main" id="{6A5406DA-4505-0443-BB7E-B30D42AAF479}"/>
              </a:ext>
            </a:extLst>
          </p:cNvPr>
          <p:cNvSpPr txBox="1"/>
          <p:nvPr/>
        </p:nvSpPr>
        <p:spPr>
          <a:xfrm>
            <a:off x="6096000" y="1435261"/>
            <a:ext cx="5660400" cy="4872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182563">
              <a:lnSpc>
                <a:spcPct val="150000"/>
              </a:lnSpc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Cualquier dato adicional que no afecte la respuesta del servicio, debe ser enviado a través de </a:t>
            </a:r>
            <a:r>
              <a:rPr lang="es-ES_tradnl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headers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. </a:t>
            </a:r>
            <a:r>
              <a:rPr lang="es-ES_tradnl" b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Ejemplo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: versión de api.</a:t>
            </a:r>
          </a:p>
        </p:txBody>
      </p:sp>
    </p:spTree>
    <p:extLst>
      <p:ext uri="{BB962C8B-B14F-4D97-AF65-F5344CB8AC3E}">
        <p14:creationId xmlns:p14="http://schemas.microsoft.com/office/powerpoint/2010/main" val="2624159575"/>
      </p:ext>
    </p:extLst>
  </p:cSld>
  <p:clrMapOvr>
    <a:masterClrMapping/>
  </p:clrMapOvr>
  <p:transition advClick="0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45"/>
          <p:cNvSpPr/>
          <p:nvPr/>
        </p:nvSpPr>
        <p:spPr>
          <a:xfrm>
            <a:off x="-167" y="0"/>
            <a:ext cx="12192000" cy="6858000"/>
          </a:xfrm>
          <a:prstGeom prst="rect">
            <a:avLst/>
          </a:prstGeom>
          <a:solidFill>
            <a:srgbClr val="282C34">
              <a:alpha val="7765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293" name="Google Shape;293;p45"/>
          <p:cNvSpPr txBox="1">
            <a:spLocks noGrp="1"/>
          </p:cNvSpPr>
          <p:nvPr>
            <p:ph type="title"/>
          </p:nvPr>
        </p:nvSpPr>
        <p:spPr>
          <a:xfrm>
            <a:off x="340233" y="1696755"/>
            <a:ext cx="11523818" cy="3464489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-ES_tradnl" sz="5867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Principales web framework en NodeJS</a:t>
            </a:r>
          </a:p>
        </p:txBody>
      </p:sp>
    </p:spTree>
    <p:extLst>
      <p:ext uri="{BB962C8B-B14F-4D97-AF65-F5344CB8AC3E}">
        <p14:creationId xmlns:p14="http://schemas.microsoft.com/office/powerpoint/2010/main" val="1741516065"/>
      </p:ext>
    </p:extLst>
  </p:cSld>
  <p:clrMapOvr>
    <a:masterClrMapping/>
  </p:clrMapOvr>
  <p:transition advClick="0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Frameworks: Top 5 en descargas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D71D847-94E9-4143-BC93-B23CFAEC66DC}"/>
              </a:ext>
            </a:extLst>
          </p:cNvPr>
          <p:cNvSpPr txBox="1"/>
          <p:nvPr/>
        </p:nvSpPr>
        <p:spPr>
          <a:xfrm>
            <a:off x="5966651" y="6384958"/>
            <a:ext cx="51915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200"/>
              <a:t>Fuente: </a:t>
            </a:r>
            <a:r>
              <a:rPr lang="es-ES_tradnl" sz="1200">
                <a:hlinkClick r:id="rId3"/>
              </a:rPr>
              <a:t>https://www.npmtrends.com/koa-vs-fastify-vs-restify-vs-hapi-vs-express</a:t>
            </a:r>
            <a:endParaRPr lang="es-ES_tradnl" sz="12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8B3200-38AA-E947-B96E-E440CA0CC001}"/>
              </a:ext>
            </a:extLst>
          </p:cNvPr>
          <p:cNvSpPr txBox="1"/>
          <p:nvPr/>
        </p:nvSpPr>
        <p:spPr>
          <a:xfrm>
            <a:off x="9715176" y="5871181"/>
            <a:ext cx="14430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200"/>
              <a:t>Los últimos 6 mes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810CA1-DBBF-3D4B-A82F-1A9DDE96C16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200" y="1671181"/>
            <a:ext cx="10080000" cy="4103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646974"/>
      </p:ext>
    </p:extLst>
  </p:cSld>
  <p:clrMapOvr>
    <a:masterClrMapping/>
  </p:clrMapOvr>
  <p:transition advClick="0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Frameworks: Top 5 en descargas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C9194D4-7E2C-D247-8E7B-71F90B16E3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411111"/>
              </p:ext>
            </p:extLst>
          </p:nvPr>
        </p:nvGraphicFramePr>
        <p:xfrm>
          <a:off x="871200" y="2376721"/>
          <a:ext cx="10287000" cy="2788920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1714500">
                  <a:extLst>
                    <a:ext uri="{9D8B030D-6E8A-4147-A177-3AD203B41FA5}">
                      <a16:colId xmlns:a16="http://schemas.microsoft.com/office/drawing/2014/main" val="2659158764"/>
                    </a:ext>
                  </a:extLst>
                </a:gridCol>
                <a:gridCol w="1714500">
                  <a:extLst>
                    <a:ext uri="{9D8B030D-6E8A-4147-A177-3AD203B41FA5}">
                      <a16:colId xmlns:a16="http://schemas.microsoft.com/office/drawing/2014/main" val="1483391199"/>
                    </a:ext>
                  </a:extLst>
                </a:gridCol>
                <a:gridCol w="1714500">
                  <a:extLst>
                    <a:ext uri="{9D8B030D-6E8A-4147-A177-3AD203B41FA5}">
                      <a16:colId xmlns:a16="http://schemas.microsoft.com/office/drawing/2014/main" val="3509747472"/>
                    </a:ext>
                  </a:extLst>
                </a:gridCol>
                <a:gridCol w="1714500">
                  <a:extLst>
                    <a:ext uri="{9D8B030D-6E8A-4147-A177-3AD203B41FA5}">
                      <a16:colId xmlns:a16="http://schemas.microsoft.com/office/drawing/2014/main" val="4030980707"/>
                    </a:ext>
                  </a:extLst>
                </a:gridCol>
                <a:gridCol w="1714500">
                  <a:extLst>
                    <a:ext uri="{9D8B030D-6E8A-4147-A177-3AD203B41FA5}">
                      <a16:colId xmlns:a16="http://schemas.microsoft.com/office/drawing/2014/main" val="1045911346"/>
                    </a:ext>
                  </a:extLst>
                </a:gridCol>
                <a:gridCol w="1714500">
                  <a:extLst>
                    <a:ext uri="{9D8B030D-6E8A-4147-A177-3AD203B41FA5}">
                      <a16:colId xmlns:a16="http://schemas.microsoft.com/office/drawing/2014/main" val="106463671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endParaRPr lang="en-US" b="0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effectLst/>
                        </a:rPr>
                        <a:t>stars 🌟</a:t>
                      </a:r>
                      <a:endParaRPr lang="en-US" b="0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effectLst/>
                        </a:rPr>
                        <a:t>forks 🍽</a:t>
                      </a:r>
                      <a:endParaRPr lang="en-US" b="0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effectLst/>
                        </a:rPr>
                        <a:t>issues ⚠️</a:t>
                      </a:r>
                      <a:endParaRPr lang="en-US" b="0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effectLst/>
                        </a:rPr>
                        <a:t>updated 🛠</a:t>
                      </a:r>
                      <a:endParaRPr lang="en-US" b="0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effectLst/>
                        </a:rPr>
                        <a:t>created 🐣</a:t>
                      </a:r>
                      <a:endParaRPr lang="en-US" b="0">
                        <a:effectLst/>
                        <a:latin typeface="Lato" panose="020F0502020204030203" pitchFamily="34" charset="77"/>
                      </a:endParaRPr>
                    </a:p>
                  </a:txBody>
                  <a:tcPr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439439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u="none" strike="noStrike">
                          <a:effectLst/>
                          <a:hlinkClick r:id="rId3"/>
                        </a:rPr>
                        <a:t>express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R="238125" marT="95250" marB="95250"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380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7163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160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Nov 29, 2018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Jun 26, 2009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23322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u="none" strike="noStrike">
                          <a:effectLst/>
                          <a:hlinkClick r:id="rId4"/>
                        </a:rPr>
                        <a:t>koa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R="238125" marT="95250" marB="95250"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148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2193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52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Dec 7, 2018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Jul 20, 2013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354566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u="none" strike="noStrike">
                          <a:effectLst/>
                          <a:hlinkClick r:id="rId5"/>
                        </a:rPr>
                        <a:t>hapi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R="238125" marT="95250" marB="95250"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10469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1079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18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Dec 3, 2018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Aug 5, 2011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827383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u="none" strike="noStrike">
                          <a:effectLst/>
                          <a:hlinkClick r:id="rId6"/>
                        </a:rPr>
                        <a:t>fastify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R="238125" marT="95250" marB="95250"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66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498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35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Dec 5, 2018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Sep 28, 2016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7826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u="none" strike="noStrike">
                          <a:effectLst/>
                          <a:hlinkClick r:id="rId7"/>
                        </a:rPr>
                        <a:t>restify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R="238125" marT="95250" marB="95250"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8852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916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42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Dec 6, 2018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Apr 25, 2011</a:t>
                      </a:r>
                      <a:endParaRPr lang="en-US">
                        <a:effectLst/>
                        <a:latin typeface="Lato" panose="020F0502020204030203" pitchFamily="34" charset="77"/>
                      </a:endParaRPr>
                    </a:p>
                  </a:txBody>
                  <a:tcPr marL="238125" marR="238125" marT="95250" marB="95250" anchor="ctr"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440731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87635A2-CBB8-2249-9267-E1D6FE4953AA}"/>
              </a:ext>
            </a:extLst>
          </p:cNvPr>
          <p:cNvSpPr txBox="1"/>
          <p:nvPr/>
        </p:nvSpPr>
        <p:spPr>
          <a:xfrm>
            <a:off x="5966651" y="6384958"/>
            <a:ext cx="51915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200"/>
              <a:t>Fuente: </a:t>
            </a:r>
            <a:r>
              <a:rPr lang="es-ES_tradnl" sz="1200">
                <a:hlinkClick r:id="rId8"/>
              </a:rPr>
              <a:t>https://www.npmtrends.com/koa-vs-fastify-vs-restify-vs-hapi-vs-express</a:t>
            </a:r>
            <a:endParaRPr lang="es-ES_tradnl" sz="12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380C00-B389-374E-A225-347BA1319A8E}"/>
              </a:ext>
            </a:extLst>
          </p:cNvPr>
          <p:cNvSpPr txBox="1"/>
          <p:nvPr/>
        </p:nvSpPr>
        <p:spPr>
          <a:xfrm>
            <a:off x="7857745" y="5339984"/>
            <a:ext cx="33004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200"/>
              <a:t>Fecha de actualización:  07 de Diciembre del 2018</a:t>
            </a:r>
          </a:p>
        </p:txBody>
      </p:sp>
    </p:spTree>
    <p:extLst>
      <p:ext uri="{BB962C8B-B14F-4D97-AF65-F5344CB8AC3E}">
        <p14:creationId xmlns:p14="http://schemas.microsoft.com/office/powerpoint/2010/main" val="3493169472"/>
      </p:ext>
    </p:extLst>
  </p:cSld>
  <p:clrMapOvr>
    <a:masterClrMapping/>
  </p:clrMapOvr>
  <p:transition advClick="0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45"/>
          <p:cNvSpPr/>
          <p:nvPr/>
        </p:nvSpPr>
        <p:spPr>
          <a:xfrm>
            <a:off x="-167" y="0"/>
            <a:ext cx="12192000" cy="6858000"/>
          </a:xfrm>
          <a:prstGeom prst="rect">
            <a:avLst/>
          </a:prstGeom>
          <a:solidFill>
            <a:srgbClr val="282C34">
              <a:alpha val="7765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293" name="Google Shape;293;p45"/>
          <p:cNvSpPr txBox="1">
            <a:spLocks noGrp="1"/>
          </p:cNvSpPr>
          <p:nvPr>
            <p:ph type="title"/>
          </p:nvPr>
        </p:nvSpPr>
        <p:spPr>
          <a:xfrm>
            <a:off x="340400" y="2438600"/>
            <a:ext cx="5755600" cy="1980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-ES_tradnl" sz="5867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Pruebas de estrés</a:t>
            </a:r>
          </a:p>
        </p:txBody>
      </p:sp>
    </p:spTree>
    <p:extLst>
      <p:ext uri="{BB962C8B-B14F-4D97-AF65-F5344CB8AC3E}">
        <p14:creationId xmlns:p14="http://schemas.microsoft.com/office/powerpoint/2010/main" val="2924246618"/>
      </p:ext>
    </p:extLst>
  </p:cSld>
  <p:clrMapOvr>
    <a:masterClrMapping/>
  </p:clrMapOvr>
  <p:transition advClick="0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Pruebas de estrés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EE275664-62AC-5240-8BA3-7EC1A9B5F2C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4132" y="2081193"/>
            <a:ext cx="3251200" cy="3251200"/>
          </a:xfrm>
          <a:prstGeom prst="rect">
            <a:avLst/>
          </a:prstGeom>
        </p:spPr>
      </p:pic>
      <p:sp>
        <p:nvSpPr>
          <p:cNvPr id="13" name="Google Shape;64;p14">
            <a:extLst>
              <a:ext uri="{FF2B5EF4-FFF2-40B4-BE49-F238E27FC236}">
                <a16:creationId xmlns:a16="http://schemas.microsoft.com/office/drawing/2014/main" id="{4E79FEA6-13EA-B34F-BE13-8A11D00CB16B}"/>
              </a:ext>
            </a:extLst>
          </p:cNvPr>
          <p:cNvSpPr txBox="1"/>
          <p:nvPr/>
        </p:nvSpPr>
        <p:spPr>
          <a:xfrm>
            <a:off x="6096000" y="1810693"/>
            <a:ext cx="5660400" cy="39744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_tradnl" sz="2400">
                <a:solidFill>
                  <a:srgbClr val="0E80C9"/>
                </a:solidFill>
                <a:latin typeface="Lato"/>
                <a:ea typeface="Lato"/>
                <a:cs typeface="Lato"/>
                <a:sym typeface="Lato"/>
              </a:rPr>
              <a:t>Consideraciones</a:t>
            </a:r>
          </a:p>
          <a:p>
            <a:pPr>
              <a:lnSpc>
                <a:spcPct val="150000"/>
              </a:lnSpc>
            </a:pPr>
            <a:endParaRPr lang="es-ES_tradnl" sz="2400" b="1">
              <a:solidFill>
                <a:srgbClr val="445469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b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Herramienta utilizada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: </a:t>
            </a:r>
            <a:r>
              <a:rPr lang="es-ES_tradnl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autocannon</a:t>
            </a:r>
            <a:endParaRPr lang="es-ES_tradnl">
              <a:solidFill>
                <a:srgbClr val="445469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b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Máquina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: Amazon EC2 Ubuntu t2.xlarge 16GB RAM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b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Node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: 10.14.1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b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Tiempo de Prueba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: 1 a 5 minuto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b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Usuarios concurrentes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: 100, 250, 500, 1000</a:t>
            </a:r>
          </a:p>
        </p:txBody>
      </p:sp>
    </p:spTree>
    <p:extLst>
      <p:ext uri="{BB962C8B-B14F-4D97-AF65-F5344CB8AC3E}">
        <p14:creationId xmlns:p14="http://schemas.microsoft.com/office/powerpoint/2010/main" val="45137184"/>
      </p:ext>
    </p:extLst>
  </p:cSld>
  <p:clrMapOvr>
    <a:masterClrMapping/>
  </p:clrMapOvr>
  <p:transition advClick="0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Prueba de estrés: Total de requests por minuto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5382AD3-96AB-FB4D-92FD-AB449FA5ECF0}"/>
              </a:ext>
            </a:extLst>
          </p:cNvPr>
          <p:cNvGrpSpPr/>
          <p:nvPr/>
        </p:nvGrpSpPr>
        <p:grpSpPr>
          <a:xfrm>
            <a:off x="10225780" y="3213018"/>
            <a:ext cx="1080000" cy="1443861"/>
            <a:chOff x="9187256" y="2889000"/>
            <a:chExt cx="1080000" cy="1443861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E2B1A65-EB69-6F4E-A90A-BCB2E6BF7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87256" y="2889000"/>
              <a:ext cx="1080000" cy="108000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310FCEB-233E-BD4D-8F33-AA5C5A9013A8}"/>
                </a:ext>
              </a:extLst>
            </p:cNvPr>
            <p:cNvSpPr txBox="1"/>
            <p:nvPr/>
          </p:nvSpPr>
          <p:spPr>
            <a:xfrm>
              <a:off x="9275914" y="3963529"/>
              <a:ext cx="9026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>
                  <a:solidFill>
                    <a:srgbClr val="6D8FBE"/>
                  </a:solidFill>
                </a:rPr>
                <a:t>FASTIFY</a:t>
              </a: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D081EF1-0211-AE4F-9756-2D7795E45B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4773530"/>
              </p:ext>
            </p:extLst>
          </p:nvPr>
        </p:nvGraphicFramePr>
        <p:xfrm>
          <a:off x="415600" y="1612144"/>
          <a:ext cx="9154800" cy="423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249159874"/>
      </p:ext>
    </p:extLst>
  </p:cSld>
  <p:clrMapOvr>
    <a:masterClrMapping/>
  </p:clrMapOvr>
  <p:transition advClick="0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Prueba de estrés: Requests x segundo en un minuto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FB741F4A-716F-6E49-93C2-C1867CBA1496}"/>
              </a:ext>
            </a:extLst>
          </p:cNvPr>
          <p:cNvGrpSpPr/>
          <p:nvPr/>
        </p:nvGrpSpPr>
        <p:grpSpPr>
          <a:xfrm>
            <a:off x="10224000" y="3214800"/>
            <a:ext cx="1080000" cy="1443861"/>
            <a:chOff x="9187256" y="2889000"/>
            <a:chExt cx="1080000" cy="1443861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D86EB14-58BC-0D41-9C79-D1786B184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87256" y="2889000"/>
              <a:ext cx="1080000" cy="108000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B10E2F2-18D0-5F4F-BBC8-C526D1C7C7D7}"/>
                </a:ext>
              </a:extLst>
            </p:cNvPr>
            <p:cNvSpPr txBox="1"/>
            <p:nvPr/>
          </p:nvSpPr>
          <p:spPr>
            <a:xfrm>
              <a:off x="9275914" y="3963529"/>
              <a:ext cx="9026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>
                  <a:solidFill>
                    <a:srgbClr val="6D8FBE"/>
                  </a:solidFill>
                </a:rPr>
                <a:t>FASTIFY</a:t>
              </a: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9435EFB-5DA8-4C4A-82C3-6EFC5EE18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9118392"/>
              </p:ext>
            </p:extLst>
          </p:nvPr>
        </p:nvGraphicFramePr>
        <p:xfrm>
          <a:off x="414000" y="1612800"/>
          <a:ext cx="9112250" cy="423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361534021"/>
      </p:ext>
    </p:extLst>
  </p:cSld>
  <p:clrMapOvr>
    <a:masterClrMapping/>
  </p:clrMapOvr>
  <p:transition advClick="0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Prueba de estrés: Latencia en un minuto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CF4F4BAD-3EC5-8249-BFCD-20E7D09E5815}"/>
              </a:ext>
            </a:extLst>
          </p:cNvPr>
          <p:cNvGrpSpPr/>
          <p:nvPr/>
        </p:nvGrpSpPr>
        <p:grpSpPr>
          <a:xfrm>
            <a:off x="10224000" y="3214800"/>
            <a:ext cx="1080000" cy="1443861"/>
            <a:chOff x="9187256" y="2889000"/>
            <a:chExt cx="1080000" cy="1443861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1FCFE7B-0F9D-D44F-A4D4-090C4A31F8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87256" y="2889000"/>
              <a:ext cx="1080000" cy="108000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FE2DB75-7664-B449-AB75-72AB4C7B6401}"/>
                </a:ext>
              </a:extLst>
            </p:cNvPr>
            <p:cNvSpPr txBox="1"/>
            <p:nvPr/>
          </p:nvSpPr>
          <p:spPr>
            <a:xfrm>
              <a:off x="9275914" y="3963529"/>
              <a:ext cx="9026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>
                  <a:solidFill>
                    <a:srgbClr val="6D8FBE"/>
                  </a:solidFill>
                </a:rPr>
                <a:t>FASTIFY</a:t>
              </a: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51519FF-7E9D-5E4F-887E-5E0976790D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6842851"/>
              </p:ext>
            </p:extLst>
          </p:nvPr>
        </p:nvGraphicFramePr>
        <p:xfrm>
          <a:off x="414000" y="1612800"/>
          <a:ext cx="9150350" cy="423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198235519"/>
      </p:ext>
    </p:extLst>
  </p:cSld>
  <p:clrMapOvr>
    <a:masterClrMapping/>
  </p:clrMapOvr>
  <p:transition advClick="0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Agenda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" name="Google Shape;64;p14">
            <a:extLst>
              <a:ext uri="{FF2B5EF4-FFF2-40B4-BE49-F238E27FC236}">
                <a16:creationId xmlns:a16="http://schemas.microsoft.com/office/drawing/2014/main" id="{B160B663-D424-E449-AB29-AA980CD0E375}"/>
              </a:ext>
            </a:extLst>
          </p:cNvPr>
          <p:cNvSpPr txBox="1"/>
          <p:nvPr/>
        </p:nvSpPr>
        <p:spPr>
          <a:xfrm>
            <a:off x="435600" y="1423685"/>
            <a:ext cx="11320800" cy="508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Microservicios: ¿Qué podemos mejorar?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¿Por qué </a:t>
            </a:r>
            <a:r>
              <a:rPr lang="es-ES_tradnl" sz="1400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NodeJS</a:t>
            </a: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?</a:t>
            </a:r>
            <a:endParaRPr lang="es-ES_tradnl" sz="1400">
              <a:solidFill>
                <a:srgbClr val="445469"/>
              </a:solidFill>
              <a:latin typeface="Lato"/>
              <a:ea typeface="Lato"/>
              <a:cs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Propuesta de implementación (Visión)</a:t>
            </a:r>
            <a:endParaRPr lang="es-ES_tradnl" sz="1400">
              <a:solidFill>
                <a:srgbClr val="445469"/>
              </a:solidFill>
              <a:latin typeface="Lato"/>
              <a:ea typeface="Lato"/>
              <a:cs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Estándares de microservicios</a:t>
            </a:r>
            <a:endParaRPr lang="es-ES_tradnl" sz="1400">
              <a:solidFill>
                <a:srgbClr val="445469"/>
              </a:solidFill>
              <a:latin typeface="Lato"/>
              <a:ea typeface="Lato"/>
              <a:cs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Principales web </a:t>
            </a:r>
            <a:r>
              <a:rPr lang="es-ES_tradnl" sz="1400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framework</a:t>
            </a: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 en </a:t>
            </a:r>
            <a:r>
              <a:rPr lang="es-ES_tradnl" sz="1400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NodeJS</a:t>
            </a:r>
            <a:endParaRPr lang="es-ES_tradnl" sz="1400">
              <a:solidFill>
                <a:srgbClr val="445469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Pruebas de estrés</a:t>
            </a:r>
            <a:endParaRPr lang="es-ES_tradnl" sz="1400">
              <a:solidFill>
                <a:srgbClr val="445469"/>
              </a:solidFill>
              <a:latin typeface="Lato"/>
              <a:ea typeface="Lato"/>
              <a:cs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Comparativa y resultados</a:t>
            </a:r>
            <a:endParaRPr lang="es-ES_tradnl" sz="1400">
              <a:solidFill>
                <a:srgbClr val="445469"/>
              </a:solidFill>
              <a:latin typeface="Lato"/>
              <a:ea typeface="Lato"/>
              <a:cs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¿Qué </a:t>
            </a:r>
            <a:r>
              <a:rPr lang="es-ES_tradnl" sz="1400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framework</a:t>
            </a: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 usar?</a:t>
            </a:r>
            <a:endParaRPr lang="es-ES_tradnl" sz="1400">
              <a:solidFill>
                <a:srgbClr val="445469"/>
              </a:solidFill>
              <a:latin typeface="Lato"/>
              <a:ea typeface="Lato"/>
              <a:cs typeface="Lato"/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s-ES" sz="1400">
                <a:solidFill>
                  <a:srgbClr val="445469"/>
                </a:solidFill>
                <a:ea typeface="+mn-lt"/>
                <a:cs typeface="+mn-lt"/>
              </a:rPr>
              <a:t>Control de versiones</a:t>
            </a:r>
            <a:endParaRPr lang="en-US" sz="1400">
              <a:ea typeface="+mn-lt"/>
              <a:cs typeface="+mn-lt"/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s-ES" sz="1400">
                <a:solidFill>
                  <a:srgbClr val="445469"/>
                </a:solidFill>
                <a:ea typeface="+mn-lt"/>
                <a:cs typeface="+mn-lt"/>
              </a:rPr>
              <a:t>Estructura de código fuente</a:t>
            </a:r>
            <a:endParaRPr lang="es-ES_tradnl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Middleware recomendados</a:t>
            </a:r>
            <a:endParaRPr lang="es-ES_tradnl" sz="1400">
              <a:solidFill>
                <a:srgbClr val="445469"/>
              </a:solidFill>
              <a:latin typeface="Lato"/>
              <a:ea typeface="Lato"/>
              <a:cs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sz="1400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Plugins</a:t>
            </a: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 Recomendados</a:t>
            </a:r>
            <a:endParaRPr lang="es-ES_tradnl" sz="1400">
              <a:solidFill>
                <a:srgbClr val="445469"/>
              </a:solidFill>
              <a:latin typeface="Lato"/>
              <a:ea typeface="Lato"/>
              <a:cs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Referencias</a:t>
            </a:r>
            <a:endParaRPr lang="es-ES_tradnl" sz="1400">
              <a:solidFill>
                <a:srgbClr val="445469"/>
              </a:solidFill>
              <a:latin typeface="Lato"/>
              <a:ea typeface="Lato"/>
              <a:cs typeface="Lato"/>
            </a:endParaRPr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3FF354CA-ABFC-034F-97DE-9C0C993A3FA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541" y="3532909"/>
            <a:ext cx="2493818" cy="3325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685272"/>
      </p:ext>
    </p:extLst>
  </p:cSld>
  <p:clrMapOvr>
    <a:masterClrMapping/>
  </p:clrMapOvr>
  <p:transition advClick="0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Prueba de estrés: Errores en un minuto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C59A18C1-3E97-2844-878C-D2E14ABEFDB8}"/>
              </a:ext>
            </a:extLst>
          </p:cNvPr>
          <p:cNvGrpSpPr/>
          <p:nvPr/>
        </p:nvGrpSpPr>
        <p:grpSpPr>
          <a:xfrm>
            <a:off x="10224000" y="3214800"/>
            <a:ext cx="1080000" cy="1449332"/>
            <a:chOff x="9187255" y="2883529"/>
            <a:chExt cx="1080000" cy="144933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C7193A2-F0B7-CA43-96F9-4EC980BD39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87255" y="2883529"/>
              <a:ext cx="1080000" cy="108000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9C976B-6005-EC47-889E-016FDE86D7A1}"/>
                </a:ext>
              </a:extLst>
            </p:cNvPr>
            <p:cNvSpPr txBox="1"/>
            <p:nvPr/>
          </p:nvSpPr>
          <p:spPr>
            <a:xfrm>
              <a:off x="9408097" y="3963529"/>
              <a:ext cx="638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>
                  <a:solidFill>
                    <a:srgbClr val="6D8FBE"/>
                  </a:solidFill>
                </a:rPr>
                <a:t>HAPI</a:t>
              </a:r>
            </a:p>
          </p:txBody>
        </p:sp>
      </p:grp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C6673A5-0D77-1940-AAF3-B05306CA70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5085199"/>
              </p:ext>
            </p:extLst>
          </p:nvPr>
        </p:nvGraphicFramePr>
        <p:xfrm>
          <a:off x="414000" y="1612800"/>
          <a:ext cx="9150350" cy="423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5757135"/>
      </p:ext>
    </p:extLst>
  </p:cSld>
  <p:clrMapOvr>
    <a:masterClrMapping/>
  </p:clrMapOvr>
  <p:transition advClick="0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Pruebas de estrés: Resultados finales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" name="Google Shape;64;p14">
            <a:extLst>
              <a:ext uri="{FF2B5EF4-FFF2-40B4-BE49-F238E27FC236}">
                <a16:creationId xmlns:a16="http://schemas.microsoft.com/office/drawing/2014/main" id="{4E79FEA6-13EA-B34F-BE13-8A11D00CB16B}"/>
              </a:ext>
            </a:extLst>
          </p:cNvPr>
          <p:cNvSpPr txBox="1"/>
          <p:nvPr/>
        </p:nvSpPr>
        <p:spPr>
          <a:xfrm>
            <a:off x="6096000" y="1810693"/>
            <a:ext cx="5660400" cy="39744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b="1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Fastify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: Mejor framework en rendimiento en requests y latencia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b="1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Koa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: Segundo framework mejor en rendimiento en requests y latencia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 b="1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Hapi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: Mejor framework con la  menor cantidad de errores y tercero en número de requests y latencia.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B8E0CB0-7D58-7A49-9012-FAD9AAA4C63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3200" y="2080800"/>
            <a:ext cx="3251200" cy="32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574176"/>
      </p:ext>
    </p:extLst>
  </p:cSld>
  <p:clrMapOvr>
    <a:masterClrMapping/>
  </p:clrMapOvr>
  <p:transition advClick="0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45"/>
          <p:cNvSpPr/>
          <p:nvPr/>
        </p:nvSpPr>
        <p:spPr>
          <a:xfrm>
            <a:off x="-167" y="0"/>
            <a:ext cx="12192000" cy="6858000"/>
          </a:xfrm>
          <a:prstGeom prst="rect">
            <a:avLst/>
          </a:prstGeom>
          <a:solidFill>
            <a:srgbClr val="282C34">
              <a:alpha val="7765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293" name="Google Shape;293;p45"/>
          <p:cNvSpPr txBox="1">
            <a:spLocks noGrp="1"/>
          </p:cNvSpPr>
          <p:nvPr>
            <p:ph type="title"/>
          </p:nvPr>
        </p:nvSpPr>
        <p:spPr>
          <a:xfrm>
            <a:off x="340400" y="2438600"/>
            <a:ext cx="5755600" cy="1980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-ES_tradnl" sz="5867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Comparativa y Resultados</a:t>
            </a:r>
          </a:p>
        </p:txBody>
      </p:sp>
    </p:spTree>
    <p:extLst>
      <p:ext uri="{BB962C8B-B14F-4D97-AF65-F5344CB8AC3E}">
        <p14:creationId xmlns:p14="http://schemas.microsoft.com/office/powerpoint/2010/main" val="1971489907"/>
      </p:ext>
    </p:extLst>
  </p:cSld>
  <p:clrMapOvr>
    <a:masterClrMapping/>
  </p:clrMapOvr>
  <p:transition advClick="0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Comparativa: </a:t>
            </a:r>
            <a:r>
              <a:rPr lang="es-ES" sz="3200" b="1" err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Fastify</a:t>
            </a:r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 vs </a:t>
            </a:r>
            <a:r>
              <a:rPr lang="es-ES" sz="3200" b="1" err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Koa</a:t>
            </a:r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 vs </a:t>
            </a:r>
            <a:r>
              <a:rPr lang="es-ES" sz="3200" b="1" err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Hapi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CF2D17D-A071-A84F-BD3A-3836B03259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7943500"/>
              </p:ext>
            </p:extLst>
          </p:nvPr>
        </p:nvGraphicFramePr>
        <p:xfrm>
          <a:off x="480000" y="1259743"/>
          <a:ext cx="11276400" cy="52036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19100">
                  <a:extLst>
                    <a:ext uri="{9D8B030D-6E8A-4147-A177-3AD203B41FA5}">
                      <a16:colId xmlns:a16="http://schemas.microsoft.com/office/drawing/2014/main" val="1797597539"/>
                    </a:ext>
                  </a:extLst>
                </a:gridCol>
                <a:gridCol w="2819100">
                  <a:extLst>
                    <a:ext uri="{9D8B030D-6E8A-4147-A177-3AD203B41FA5}">
                      <a16:colId xmlns:a16="http://schemas.microsoft.com/office/drawing/2014/main" val="1587593897"/>
                    </a:ext>
                  </a:extLst>
                </a:gridCol>
                <a:gridCol w="2819100">
                  <a:extLst>
                    <a:ext uri="{9D8B030D-6E8A-4147-A177-3AD203B41FA5}">
                      <a16:colId xmlns:a16="http://schemas.microsoft.com/office/drawing/2014/main" val="2043000945"/>
                    </a:ext>
                  </a:extLst>
                </a:gridCol>
                <a:gridCol w="2819100">
                  <a:extLst>
                    <a:ext uri="{9D8B030D-6E8A-4147-A177-3AD203B41FA5}">
                      <a16:colId xmlns:a16="http://schemas.microsoft.com/office/drawing/2014/main" val="17420554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CARACTERÍSTICA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FASTIFY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KOA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HAPI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4283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TIP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Fast</a:t>
                      </a: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and </a:t>
                      </a:r>
                      <a:r>
                        <a:rPr lang="es-ES_tradnl" sz="1000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low</a:t>
                      </a: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000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overhead</a:t>
                      </a:r>
                      <a:endParaRPr lang="es-ES_tradnl" sz="1000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Minimalist</a:t>
                      </a: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and modular</a:t>
                      </a: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Rich</a:t>
                      </a: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and modular</a:t>
                      </a: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4984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PES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7.5 MB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2 MB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1.7 MB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225896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BUILD REST AP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endParaRPr lang="es-ES_tradnl" sz="1000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474011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BUILD WEB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endParaRPr lang="es-ES_tradnl" sz="1000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Requiere librería adicional</a:t>
                      </a: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5294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CURVA DE APRENDIZAJ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Intermedi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Bajo</a:t>
                      </a: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sym typeface="Lato"/>
                        </a:rPr>
                        <a:t>Bajo / Intermedio</a:t>
                      </a: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64808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SOPORTE DE ES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endParaRPr lang="es-ES_tradnl" sz="1000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76860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SCHEMA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endParaRPr lang="es-ES_tradnl" sz="1000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Requiere librería adicional</a:t>
                      </a: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Requiere librería adicional</a:t>
                      </a: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104325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ÑOS DE ANTIGUEDA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13194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COMUNIDA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+886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+2414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+1046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71632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PLUGIN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+23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s-ES_trad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45469"/>
                          </a:solidFill>
                          <a:effectLst/>
                          <a:uLnTx/>
                          <a:uFillTx/>
                          <a:latin typeface="Lato"/>
                          <a:sym typeface="Lato"/>
                        </a:rPr>
                        <a:t>+4452</a:t>
                      </a: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s-ES_trad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45469"/>
                          </a:solidFill>
                          <a:effectLst/>
                          <a:uLnTx/>
                          <a:uFillTx/>
                          <a:latin typeface="Lato"/>
                          <a:sym typeface="Lato"/>
                        </a:rPr>
                        <a:t>+2288</a:t>
                      </a: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52250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LICENCI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NO COMERCIAL (MIT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NO COMERCIAL (MIT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NO COMERCIAL (CUSTOM)</a:t>
                      </a: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49448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¿QUÍENES LO USAN?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VECTRA: líder AI en ciberataques .</a:t>
                      </a:r>
                    </a:p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MIA PLATFORM: API </a:t>
                      </a:r>
                      <a:r>
                        <a:rPr lang="es-ES_tradnl" sz="1000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managment</a:t>
                      </a: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000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platform</a:t>
                      </a:r>
                      <a:endParaRPr lang="es-ES_tradnl" sz="1000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  <a:hlinkClick r:id="rId3"/>
                        </a:rPr>
                        <a:t>https://www.fastify.io/organisations/</a:t>
                      </a:r>
                      <a:endParaRPr lang="es-ES_tradnl" sz="1000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s-ES_trad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45469"/>
                          </a:solidFill>
                          <a:effectLst/>
                          <a:uLnTx/>
                          <a:uFillTx/>
                          <a:latin typeface="Lato"/>
                          <a:sym typeface="Lato"/>
                        </a:rPr>
                        <a:t>DIAL ONCE: Servicio de llamadas en real time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s-ES_trad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45469"/>
                          </a:solidFill>
                          <a:effectLst/>
                          <a:uLnTx/>
                          <a:uFillTx/>
                          <a:latin typeface="Lato"/>
                          <a:sym typeface="Lato"/>
                        </a:rPr>
                        <a:t>TABOOLA: Plataforma de marketing en real time.</a:t>
                      </a:r>
                      <a:br>
                        <a:rPr kumimoji="0" lang="es-ES_trad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45469"/>
                          </a:solidFill>
                          <a:effectLst/>
                          <a:uLnTx/>
                          <a:uFillTx/>
                          <a:latin typeface="Lato"/>
                          <a:sym typeface="Lato"/>
                        </a:rPr>
                      </a:br>
                      <a:r>
                        <a:rPr kumimoji="0" lang="es-ES_trad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45469"/>
                          </a:solidFill>
                          <a:effectLst/>
                          <a:uLnTx/>
                          <a:uFillTx/>
                          <a:latin typeface="Lato"/>
                          <a:sym typeface="Lato"/>
                          <a:hlinkClick r:id="rId4"/>
                        </a:rPr>
                        <a:t>https://stackshare.io/koa/in-stacks</a:t>
                      </a:r>
                      <a:endParaRPr lang="es-ES_tradnl" sz="1000"/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WALTMART, YAHOO,  BEATSMUSIC, DISNEY </a:t>
                      </a:r>
                      <a:r>
                        <a:rPr lang="es-ES_tradnl" sz="10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  <a:hlinkClick r:id="rId5"/>
                        </a:rPr>
                        <a:t>https://hapijs.com/community</a:t>
                      </a:r>
                      <a:endParaRPr lang="es-ES_tradnl" sz="1000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9589505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590A284-6CA0-0F47-8492-E505676B8A8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6146" y="2430513"/>
            <a:ext cx="251999" cy="25199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C074C9F-B9DE-5E41-8B6B-24C744FFF12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7172" y="2430512"/>
            <a:ext cx="251999" cy="25199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D94A523-A3C5-8B48-99BB-11246A2C21A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1348" y="2430512"/>
            <a:ext cx="251999" cy="25199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942EC64-2BC6-FA49-9F8B-B22A217CDEA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6145" y="2813255"/>
            <a:ext cx="251999" cy="25199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59F8F90-B13F-2A4E-8588-CAF04B7F43E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1347" y="2813254"/>
            <a:ext cx="251999" cy="25199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AF76EF8-898E-A240-8D1E-DA460C0C5E6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6145" y="3570305"/>
            <a:ext cx="251999" cy="251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454DC7A-44F4-A443-8EB4-8A38001398C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7172" y="3570305"/>
            <a:ext cx="251999" cy="25199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7259018-7F4C-2245-A05D-61B95C57601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1347" y="3581881"/>
            <a:ext cx="251999" cy="25199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24AD6D1-7EF6-E24C-A5A2-2E7E59592D8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6144" y="3935313"/>
            <a:ext cx="251999" cy="25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8103"/>
      </p:ext>
    </p:extLst>
  </p:cSld>
  <p:clrMapOvr>
    <a:masterClrMapping/>
  </p:clrMapOvr>
  <p:transition advClick="0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¿Qué framework usar?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64;p14">
            <a:extLst>
              <a:ext uri="{FF2B5EF4-FFF2-40B4-BE49-F238E27FC236}">
                <a16:creationId xmlns:a16="http://schemas.microsoft.com/office/drawing/2014/main" id="{B99CFB41-5272-E441-B74F-EF8325FF79C8}"/>
              </a:ext>
            </a:extLst>
          </p:cNvPr>
          <p:cNvSpPr txBox="1"/>
          <p:nvPr/>
        </p:nvSpPr>
        <p:spPr>
          <a:xfrm>
            <a:off x="6096000" y="1435261"/>
            <a:ext cx="5660400" cy="4872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_tradnl" sz="2400">
                <a:solidFill>
                  <a:srgbClr val="0E80C9"/>
                </a:solidFill>
                <a:latin typeface="Lato"/>
                <a:ea typeface="Lato"/>
                <a:cs typeface="Lato"/>
                <a:sym typeface="Lato"/>
              </a:rPr>
              <a:t>Recomendamos usar </a:t>
            </a:r>
            <a:r>
              <a:rPr lang="es-ES_tradnl" sz="2400" b="1" err="1">
                <a:solidFill>
                  <a:srgbClr val="0E80C9"/>
                </a:solidFill>
                <a:latin typeface="Lato"/>
                <a:ea typeface="Lato"/>
                <a:cs typeface="Lato"/>
                <a:sym typeface="Lato"/>
              </a:rPr>
              <a:t>Koa</a:t>
            </a:r>
            <a:endParaRPr lang="es-ES_tradnl" sz="2400" b="1">
              <a:solidFill>
                <a:srgbClr val="0E80C9"/>
              </a:solidFill>
              <a:latin typeface="Lato"/>
              <a:ea typeface="Lato"/>
              <a:cs typeface="Lato"/>
              <a:sym typeface="Lato"/>
            </a:endParaRPr>
          </a:p>
          <a:p>
            <a:pPr>
              <a:lnSpc>
                <a:spcPct val="150000"/>
              </a:lnSpc>
            </a:pPr>
            <a:endParaRPr lang="es-ES_tradnl" sz="2400" b="1">
              <a:solidFill>
                <a:srgbClr val="445469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Por ser minimalista y orientado principalmente para REST API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Tiene una curva de aprendizaje baja. Muy similar a express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Mayor apoyo de la comunidad de los 3 frameworks comparados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Fue desarrollada por el mismo equipo detrás de Express, como una evolución del mismo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F1BB1B-1844-3E4C-BB8A-4B318A6E1D9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3200" y="2080800"/>
            <a:ext cx="3251200" cy="32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843104"/>
      </p:ext>
    </p:extLst>
  </p:cSld>
  <p:clrMapOvr>
    <a:masterClrMapping/>
  </p:clrMapOvr>
  <p:transition advClick="0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45"/>
          <p:cNvSpPr/>
          <p:nvPr/>
        </p:nvSpPr>
        <p:spPr>
          <a:xfrm>
            <a:off x="-167" y="0"/>
            <a:ext cx="12192000" cy="6858000"/>
          </a:xfrm>
          <a:prstGeom prst="rect">
            <a:avLst/>
          </a:prstGeom>
          <a:solidFill>
            <a:srgbClr val="282C34">
              <a:alpha val="7765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293" name="Google Shape;293;p45"/>
          <p:cNvSpPr txBox="1">
            <a:spLocks noGrp="1"/>
          </p:cNvSpPr>
          <p:nvPr>
            <p:ph type="title"/>
          </p:nvPr>
        </p:nvSpPr>
        <p:spPr>
          <a:xfrm>
            <a:off x="340400" y="2438600"/>
            <a:ext cx="5755600" cy="1980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-ES_tradnl" sz="5850">
                <a:solidFill>
                  <a:srgbClr val="FFFFFF"/>
                </a:solidFill>
                <a:latin typeface="Lato"/>
                <a:ea typeface="Lato"/>
                <a:cs typeface="Lato"/>
              </a:rPr>
              <a:t>Control de versiones</a:t>
            </a:r>
          </a:p>
        </p:txBody>
      </p:sp>
    </p:spTree>
    <p:extLst>
      <p:ext uri="{BB962C8B-B14F-4D97-AF65-F5344CB8AC3E}">
        <p14:creationId xmlns:p14="http://schemas.microsoft.com/office/powerpoint/2010/main" val="904419021"/>
      </p:ext>
    </p:extLst>
  </p:cSld>
  <p:clrMapOvr>
    <a:masterClrMapping/>
  </p:clrMapOvr>
  <p:transition advClick="0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GIT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64;p14">
            <a:extLst>
              <a:ext uri="{FF2B5EF4-FFF2-40B4-BE49-F238E27FC236}">
                <a16:creationId xmlns:a16="http://schemas.microsoft.com/office/drawing/2014/main" id="{B99CFB41-5272-E441-B74F-EF8325FF79C8}"/>
              </a:ext>
            </a:extLst>
          </p:cNvPr>
          <p:cNvSpPr txBox="1"/>
          <p:nvPr/>
        </p:nvSpPr>
        <p:spPr>
          <a:xfrm>
            <a:off x="455220" y="4176481"/>
            <a:ext cx="11281387" cy="1399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_tradnl" sz="2400" b="1">
                <a:solidFill>
                  <a:srgbClr val="0E80C9"/>
                </a:solidFill>
                <a:latin typeface="Lato"/>
                <a:ea typeface="Lato"/>
                <a:cs typeface="Lato"/>
                <a:sym typeface="Lato"/>
              </a:rPr>
              <a:t>Nomenclatura del Branch</a:t>
            </a:r>
          </a:p>
          <a:p>
            <a:pPr>
              <a:lnSpc>
                <a:spcPct val="150000"/>
              </a:lnSpc>
            </a:pPr>
            <a:r>
              <a:rPr lang="es-ES_tradnl" sz="2000" b="1">
                <a:solidFill>
                  <a:srgbClr val="445469"/>
                </a:solidFill>
                <a:latin typeface="Lato"/>
                <a:ea typeface="Lato"/>
                <a:cs typeface="Lato"/>
              </a:rPr>
              <a:t>[Código de historia] - [Nombre de historia]  -&gt; 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</a:rPr>
              <a:t>Ejemplo:  </a:t>
            </a:r>
            <a:r>
              <a:rPr lang="es-ES_tradnl" sz="2000">
                <a:solidFill>
                  <a:srgbClr val="445469"/>
                </a:solidFill>
                <a:latin typeface="Lato"/>
                <a:ea typeface="Lato"/>
                <a:cs typeface="Lato"/>
              </a:rPr>
              <a:t>OAPI-26-StockDesarrollo</a:t>
            </a:r>
            <a:endParaRPr lang="es-ES_tradnl">
              <a:solidFill>
                <a:srgbClr val="000000"/>
              </a:solidFill>
              <a:latin typeface="Calibri"/>
              <a:ea typeface="Lato"/>
              <a:cs typeface="Calibri"/>
            </a:endParaRPr>
          </a:p>
          <a:p>
            <a:pPr>
              <a:lnSpc>
                <a:spcPct val="150000"/>
              </a:lnSpc>
            </a:pPr>
            <a:endParaRPr lang="es-ES_tradnl"/>
          </a:p>
        </p:txBody>
      </p:sp>
      <p:sp>
        <p:nvSpPr>
          <p:cNvPr id="8" name="Google Shape;64;p14">
            <a:extLst>
              <a:ext uri="{FF2B5EF4-FFF2-40B4-BE49-F238E27FC236}">
                <a16:creationId xmlns:a16="http://schemas.microsoft.com/office/drawing/2014/main" id="{9E1CB566-BFF2-48AF-8FA7-7D4C3CED9ED7}"/>
              </a:ext>
            </a:extLst>
          </p:cNvPr>
          <p:cNvSpPr txBox="1"/>
          <p:nvPr/>
        </p:nvSpPr>
        <p:spPr>
          <a:xfrm>
            <a:off x="475012" y="1435262"/>
            <a:ext cx="10450113" cy="1359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_tradnl" sz="2400" b="1">
                <a:solidFill>
                  <a:srgbClr val="0E80C9"/>
                </a:solidFill>
                <a:latin typeface="Lato"/>
                <a:sym typeface="Lato"/>
              </a:rPr>
              <a:t>GIT - FLOW</a:t>
            </a:r>
            <a:endParaRPr lang="es-ES"/>
          </a:p>
          <a:p>
            <a:pPr>
              <a:lnSpc>
                <a:spcPct val="150000"/>
              </a:lnSpc>
            </a:pPr>
            <a:r>
              <a:rPr lang="es-ES_tradnl" sz="2000" b="1" err="1">
                <a:ea typeface="+mn-lt"/>
                <a:cs typeface="+mn-lt"/>
              </a:rPr>
              <a:t>feature</a:t>
            </a:r>
            <a:r>
              <a:rPr lang="es-ES_tradnl" sz="2000" b="1">
                <a:ea typeface="+mn-lt"/>
                <a:cs typeface="+mn-lt"/>
              </a:rPr>
              <a:t>/*     </a:t>
            </a:r>
            <a:r>
              <a:rPr lang="es-ES_tradnl" sz="2000" b="1" err="1">
                <a:ea typeface="+mn-lt"/>
                <a:cs typeface="+mn-lt"/>
              </a:rPr>
              <a:t>release</a:t>
            </a:r>
            <a:r>
              <a:rPr lang="es-ES_tradnl" sz="2000" b="1">
                <a:ea typeface="+mn-lt"/>
                <a:cs typeface="+mn-lt"/>
              </a:rPr>
              <a:t>/*     </a:t>
            </a:r>
            <a:r>
              <a:rPr lang="es-ES_tradnl" sz="2000" b="1" err="1">
                <a:ea typeface="+mn-lt"/>
                <a:cs typeface="+mn-lt"/>
              </a:rPr>
              <a:t>bugfix</a:t>
            </a:r>
            <a:r>
              <a:rPr lang="es-ES_tradnl" sz="2000" b="1">
                <a:ea typeface="+mn-lt"/>
                <a:cs typeface="+mn-lt"/>
              </a:rPr>
              <a:t>/*     </a:t>
            </a:r>
            <a:r>
              <a:rPr lang="es-ES_tradnl" sz="2000" b="1" err="1">
                <a:ea typeface="+mn-lt"/>
                <a:cs typeface="+mn-lt"/>
              </a:rPr>
              <a:t>hotfix</a:t>
            </a:r>
            <a:r>
              <a:rPr lang="es-ES_tradnl" sz="2000" b="1">
                <a:ea typeface="+mn-lt"/>
                <a:cs typeface="+mn-lt"/>
              </a:rPr>
              <a:t>/*  -&gt; </a:t>
            </a:r>
            <a:r>
              <a:rPr lang="es-ES_tradnl" sz="2000" b="1">
                <a:solidFill>
                  <a:srgbClr val="000000"/>
                </a:solidFill>
                <a:latin typeface="Calibri"/>
                <a:ea typeface="+mn-lt"/>
                <a:cs typeface="Calibri"/>
              </a:rPr>
              <a:t> 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</a:rPr>
              <a:t>Ejemplo:   </a:t>
            </a:r>
            <a:r>
              <a:rPr lang="es-ES_tradnl" err="1">
                <a:solidFill>
                  <a:srgbClr val="445469"/>
                </a:solidFill>
                <a:latin typeface="Lato"/>
                <a:ea typeface="Lato"/>
                <a:cs typeface="Lato"/>
              </a:rPr>
              <a:t>r</a:t>
            </a:r>
            <a:r>
              <a:rPr lang="es-ES_tradnl" sz="2000" err="1">
                <a:solidFill>
                  <a:srgbClr val="445469"/>
                </a:solidFill>
                <a:latin typeface="Lato"/>
                <a:ea typeface="Lato"/>
                <a:cs typeface="Lato"/>
              </a:rPr>
              <a:t>elease</a:t>
            </a:r>
            <a:r>
              <a:rPr lang="es-ES_tradnl" sz="2000">
                <a:solidFill>
                  <a:srgbClr val="445469"/>
                </a:solidFill>
                <a:latin typeface="Lato"/>
                <a:ea typeface="Lato"/>
                <a:cs typeface="Lato"/>
              </a:rPr>
              <a:t>/OAPI-26-StockDesarrollo</a:t>
            </a:r>
            <a:endParaRPr lang="es-ES_tradnl">
              <a:solidFill>
                <a:srgbClr val="000000"/>
              </a:solidFill>
              <a:latin typeface="Calibri"/>
              <a:ea typeface="Lato"/>
              <a:cs typeface="Calibri"/>
            </a:endParaRPr>
          </a:p>
          <a:p>
            <a:pPr>
              <a:lnSpc>
                <a:spcPct val="150000"/>
              </a:lnSpc>
            </a:pPr>
            <a:endParaRPr lang="es-ES_tradnl">
              <a:solidFill>
                <a:srgbClr val="445469"/>
              </a:solidFill>
              <a:latin typeface="Lato"/>
            </a:endParaRPr>
          </a:p>
        </p:txBody>
      </p:sp>
      <p:sp>
        <p:nvSpPr>
          <p:cNvPr id="5" name="Google Shape;64;p14">
            <a:extLst>
              <a:ext uri="{FF2B5EF4-FFF2-40B4-BE49-F238E27FC236}">
                <a16:creationId xmlns:a16="http://schemas.microsoft.com/office/drawing/2014/main" id="{C0C696C7-0AF0-4199-8711-AF82FD337318}"/>
              </a:ext>
            </a:extLst>
          </p:cNvPr>
          <p:cNvSpPr txBox="1"/>
          <p:nvPr/>
        </p:nvSpPr>
        <p:spPr>
          <a:xfrm>
            <a:off x="475012" y="3127494"/>
            <a:ext cx="11093361" cy="1053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_tradnl" sz="2400" b="1">
                <a:solidFill>
                  <a:srgbClr val="0E80C9"/>
                </a:solidFill>
                <a:latin typeface="Lato"/>
                <a:ea typeface="Lato"/>
                <a:cs typeface="Lato"/>
                <a:sym typeface="Lato"/>
              </a:rPr>
              <a:t>Nombre del Repositorio</a:t>
            </a:r>
          </a:p>
          <a:p>
            <a:pPr>
              <a:lnSpc>
                <a:spcPct val="150000"/>
              </a:lnSpc>
            </a:pPr>
            <a:r>
              <a:rPr lang="es-ES_tradnl" sz="2000" b="1">
                <a:solidFill>
                  <a:srgbClr val="445469"/>
                </a:solidFill>
                <a:latin typeface="Lato"/>
                <a:cs typeface="Calibri"/>
              </a:rPr>
              <a:t>api-[Nombre descriptivo] -&gt;  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</a:rPr>
              <a:t>Ejemplo: </a:t>
            </a:r>
            <a:r>
              <a:rPr lang="es-ES_tradnl">
                <a:solidFill>
                  <a:srgbClr val="445469"/>
                </a:solidFill>
                <a:latin typeface="Lato"/>
              </a:rPr>
              <a:t> api</a:t>
            </a:r>
            <a:r>
              <a:rPr lang="es-ES_tradnl" sz="2000">
                <a:solidFill>
                  <a:srgbClr val="445469"/>
                </a:solidFill>
                <a:latin typeface="Lato"/>
              </a:rPr>
              <a:t>-stocks</a:t>
            </a:r>
            <a:endParaRPr lang="es-ES_tradnl">
              <a:cs typeface="Calibri"/>
            </a:endParaRPr>
          </a:p>
          <a:p>
            <a:pPr>
              <a:lnSpc>
                <a:spcPct val="150000"/>
              </a:lnSpc>
            </a:pPr>
            <a:endParaRPr lang="es-ES_tradnl" sz="1400">
              <a:solidFill>
                <a:srgbClr val="445469"/>
              </a:solidFill>
              <a:latin typeface="Lato"/>
              <a:ea typeface="Lato"/>
              <a:cs typeface="Lato"/>
            </a:endParaRPr>
          </a:p>
          <a:p>
            <a:pPr>
              <a:lnSpc>
                <a:spcPct val="150000"/>
              </a:lnSpc>
            </a:pPr>
            <a:r>
              <a:rPr lang="es-ES_tradnl" sz="1400">
                <a:solidFill>
                  <a:srgbClr val="445469"/>
                </a:solidFill>
                <a:latin typeface="Lato"/>
                <a:ea typeface="Lato"/>
                <a:cs typeface="Lato"/>
              </a:rPr>
              <a:t>     </a:t>
            </a:r>
            <a:endParaRPr lang="es-ES_tradnl"/>
          </a:p>
        </p:txBody>
      </p:sp>
      <p:pic>
        <p:nvPicPr>
          <p:cNvPr id="6" name="Picture 8">
            <a:extLst>
              <a:ext uri="{FF2B5EF4-FFF2-40B4-BE49-F238E27FC236}">
                <a16:creationId xmlns:a16="http://schemas.microsoft.com/office/drawing/2014/main" id="{55B583C6-5A88-486C-8E7E-182D78B8664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3264" y="192293"/>
            <a:ext cx="1342407" cy="911803"/>
          </a:xfrm>
          <a:prstGeom prst="rect">
            <a:avLst/>
          </a:prstGeom>
        </p:spPr>
      </p:pic>
      <p:sp>
        <p:nvSpPr>
          <p:cNvPr id="17" name="Google Shape;64;p14">
            <a:extLst>
              <a:ext uri="{FF2B5EF4-FFF2-40B4-BE49-F238E27FC236}">
                <a16:creationId xmlns:a16="http://schemas.microsoft.com/office/drawing/2014/main" id="{7B7E3D3B-B55E-40B0-933D-D1BD3DEEED10}"/>
              </a:ext>
            </a:extLst>
          </p:cNvPr>
          <p:cNvSpPr txBox="1"/>
          <p:nvPr/>
        </p:nvSpPr>
        <p:spPr>
          <a:xfrm>
            <a:off x="395842" y="5571831"/>
            <a:ext cx="11281387" cy="1399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_tradnl" sz="2400" b="1">
                <a:solidFill>
                  <a:srgbClr val="0E80C9"/>
                </a:solidFill>
                <a:latin typeface="Lato"/>
                <a:ea typeface="Lato"/>
                <a:cs typeface="Lato"/>
                <a:sym typeface="Lato"/>
              </a:rPr>
              <a:t>Nomenclatura del </a:t>
            </a:r>
            <a:r>
              <a:rPr lang="es-ES_tradnl" sz="2400" b="1" err="1">
                <a:solidFill>
                  <a:srgbClr val="0E80C9"/>
                </a:solidFill>
                <a:latin typeface="Lato"/>
                <a:ea typeface="Lato"/>
                <a:cs typeface="Lato"/>
                <a:sym typeface="Lato"/>
              </a:rPr>
              <a:t>Commit</a:t>
            </a:r>
          </a:p>
          <a:p>
            <a:pPr>
              <a:lnSpc>
                <a:spcPct val="150000"/>
              </a:lnSpc>
            </a:pPr>
            <a:r>
              <a:rPr lang="es-ES_tradnl" sz="2000" b="1">
                <a:solidFill>
                  <a:srgbClr val="445469"/>
                </a:solidFill>
                <a:latin typeface="Lato"/>
                <a:ea typeface="Lato"/>
                <a:cs typeface="Lato"/>
              </a:rPr>
              <a:t>[Código de historia] [Descripción]  -&gt; 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</a:rPr>
              <a:t>Ejemplo:  [</a:t>
            </a:r>
            <a:r>
              <a:rPr lang="es-ES_tradnl" sz="2000">
                <a:solidFill>
                  <a:srgbClr val="445469"/>
                </a:solidFill>
                <a:latin typeface="Lato"/>
                <a:ea typeface="Lato"/>
                <a:cs typeface="Lato"/>
              </a:rPr>
              <a:t>OAPI-26] Configuración de Redis</a:t>
            </a:r>
            <a:endParaRPr lang="es-ES_tradnl" sz="2000">
              <a:solidFill>
                <a:srgbClr val="445469"/>
              </a:solidFill>
              <a:latin typeface="Lato"/>
              <a:ea typeface="Lato"/>
              <a:cs typeface="Calibri"/>
            </a:endParaRPr>
          </a:p>
          <a:p>
            <a:pPr>
              <a:lnSpc>
                <a:spcPct val="150000"/>
              </a:lnSpc>
            </a:pP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42502169"/>
      </p:ext>
    </p:extLst>
  </p:cSld>
  <p:clrMapOvr>
    <a:masterClrMapping/>
  </p:clrMapOvr>
  <p:transition advClick="0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45"/>
          <p:cNvSpPr/>
          <p:nvPr/>
        </p:nvSpPr>
        <p:spPr>
          <a:xfrm>
            <a:off x="-167" y="0"/>
            <a:ext cx="12192000" cy="6858000"/>
          </a:xfrm>
          <a:prstGeom prst="rect">
            <a:avLst/>
          </a:prstGeom>
          <a:solidFill>
            <a:srgbClr val="282C34">
              <a:alpha val="7765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293" name="Google Shape;293;p45"/>
          <p:cNvSpPr txBox="1">
            <a:spLocks noGrp="1"/>
          </p:cNvSpPr>
          <p:nvPr>
            <p:ph type="title"/>
          </p:nvPr>
        </p:nvSpPr>
        <p:spPr>
          <a:xfrm>
            <a:off x="340400" y="2438600"/>
            <a:ext cx="5755600" cy="1980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-ES_tradnl" sz="5850">
                <a:solidFill>
                  <a:srgbClr val="FFFFFF"/>
                </a:solidFill>
                <a:latin typeface="Lato"/>
                <a:ea typeface="Lato"/>
                <a:cs typeface="Lato"/>
              </a:rPr>
              <a:t>Estructura de código fuente</a:t>
            </a:r>
          </a:p>
        </p:txBody>
      </p:sp>
    </p:spTree>
    <p:extLst>
      <p:ext uri="{BB962C8B-B14F-4D97-AF65-F5344CB8AC3E}">
        <p14:creationId xmlns:p14="http://schemas.microsoft.com/office/powerpoint/2010/main" val="2894021050"/>
      </p:ext>
    </p:extLst>
  </p:cSld>
  <p:clrMapOvr>
    <a:masterClrMapping/>
  </p:clrMapOvr>
  <p:transition advClick="0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Estructura de código fuente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6" name="Picture 8" descr="Imagen que contiene texto&#10;&#10;Descripción generada con confianza alta">
            <a:extLst>
              <a:ext uri="{FF2B5EF4-FFF2-40B4-BE49-F238E27FC236}">
                <a16:creationId xmlns:a16="http://schemas.microsoft.com/office/drawing/2014/main" id="{D87A1F7C-0150-405F-9E55-BA978F7CC1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537" y="1846612"/>
            <a:ext cx="1961509" cy="4629503"/>
          </a:xfrm>
          <a:prstGeom prst="rect">
            <a:avLst/>
          </a:prstGeom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7CEF300-7200-49F1-AFAB-5CA57E3F38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2287705"/>
              </p:ext>
            </p:extLst>
          </p:nvPr>
        </p:nvGraphicFramePr>
        <p:xfrm>
          <a:off x="3107376" y="1949532"/>
          <a:ext cx="7818737" cy="46242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3797">
                  <a:extLst>
                    <a:ext uri="{9D8B030D-6E8A-4147-A177-3AD203B41FA5}">
                      <a16:colId xmlns:a16="http://schemas.microsoft.com/office/drawing/2014/main" val="4014937250"/>
                    </a:ext>
                  </a:extLst>
                </a:gridCol>
                <a:gridCol w="6084940">
                  <a:extLst>
                    <a:ext uri="{9D8B030D-6E8A-4147-A177-3AD203B41FA5}">
                      <a16:colId xmlns:a16="http://schemas.microsoft.com/office/drawing/2014/main" val="3684198415"/>
                    </a:ext>
                  </a:extLst>
                </a:gridCol>
              </a:tblGrid>
              <a:tr h="370492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800" kern="1200">
                          <a:effectLst/>
                        </a:rPr>
                        <a:t>Directorio/</a:t>
                      </a:r>
                      <a:r>
                        <a:rPr lang="es-ES" sz="1800" kern="1200" err="1">
                          <a:effectLst/>
                        </a:rPr>
                        <a:t>Arch</a:t>
                      </a:r>
                      <a:r>
                        <a:rPr lang="es-ES" sz="1800" kern="1200">
                          <a:effectLst/>
                        </a:rPr>
                        <a:t>.</a:t>
                      </a:r>
                      <a:endParaRPr lang="es-E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800" kern="1200">
                          <a:effectLst/>
                        </a:rPr>
                        <a:t>Descripción</a:t>
                      </a:r>
                      <a:endParaRPr lang="es-ES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99925364"/>
                  </a:ext>
                </a:extLst>
              </a:tr>
              <a:tr h="49398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400" kern="1200" err="1">
                          <a:effectLst/>
                        </a:rPr>
                        <a:t>src</a:t>
                      </a:r>
                      <a:endParaRPr lang="es-E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400" kern="1200">
                          <a:effectLst/>
                        </a:rPr>
                        <a:t>Directorio que contiene los recursos desarrollados directamente para el comportamiento del microservicio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44576276"/>
                  </a:ext>
                </a:extLst>
              </a:tr>
              <a:tr h="603766"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test</a:t>
                      </a:r>
                      <a:endParaRPr lang="es-ES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400" kern="1200">
                          <a:effectLst/>
                        </a:rPr>
                        <a:t>Directorio que involucra los archivos necesarios para las pruebas unitarias. (Mocha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87987613"/>
                  </a:ext>
                </a:extLst>
              </a:tr>
              <a:tr h="370492"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.</a:t>
                      </a:r>
                      <a:r>
                        <a:rPr lang="es-ES" sz="1400" kern="1200" err="1">
                          <a:effectLst/>
                        </a:rPr>
                        <a:t>gitignore</a:t>
                      </a:r>
                      <a:endParaRPr lang="es-ES" sz="1400" err="1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Configuración de archivos a ser ignorado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89740771"/>
                  </a:ext>
                </a:extLst>
              </a:tr>
              <a:tr h="466545"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 err="1">
                          <a:effectLst/>
                        </a:rPr>
                        <a:t>nodemon.json</a:t>
                      </a:r>
                      <a:endParaRPr lang="es-ES" sz="1400" err="1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Configuración para monitorear y reiniciar automáticamente en desarrollo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41013234"/>
                  </a:ext>
                </a:extLst>
              </a:tr>
              <a:tr h="370492"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 err="1">
                          <a:effectLst/>
                        </a:rPr>
                        <a:t>Package.json</a:t>
                      </a:r>
                      <a:endParaRPr lang="es-ES" err="1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Configuración de las dependencias instaladas al proyecto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04019779"/>
                  </a:ext>
                </a:extLst>
              </a:tr>
              <a:tr h="370492"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README.md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Resumen descriptivo del proyecto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2737779"/>
                  </a:ext>
                </a:extLst>
              </a:tr>
              <a:tr h="370492"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Swagger.j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Configuración de documentación de servicios basado en RESTFul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26353104"/>
                  </a:ext>
                </a:extLst>
              </a:tr>
              <a:tr h="466545"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 err="1">
                          <a:effectLst/>
                        </a:rPr>
                        <a:t>Env.yaml</a:t>
                      </a:r>
                      <a:endParaRPr lang="es-E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Registra todos los parámetros estáticos de ámbito global de la aplicación.</a:t>
                      </a:r>
                      <a:endParaRPr lang="es-ES" sz="140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81273128"/>
                  </a:ext>
                </a:extLst>
              </a:tr>
              <a:tr h="370492"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 err="1">
                          <a:effectLst/>
                        </a:rPr>
                        <a:t>Jenkinsfile</a:t>
                      </a:r>
                      <a:endParaRPr lang="es-E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Archivo de configuración de Jenkins. (Responsable área DEVOPS)</a:t>
                      </a:r>
                      <a:endParaRPr lang="es-ES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05594382"/>
                  </a:ext>
                </a:extLst>
              </a:tr>
              <a:tr h="370492"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 err="1">
                          <a:effectLst/>
                        </a:rPr>
                        <a:t>Dockerfil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Configuración de contenedores con </a:t>
                      </a:r>
                      <a:r>
                        <a:rPr lang="es-ES" sz="1400" kern="1200" err="1">
                          <a:effectLst/>
                        </a:rPr>
                        <a:t>Dockerfile</a:t>
                      </a:r>
                      <a:r>
                        <a:rPr lang="es-ES" sz="1400" kern="1200">
                          <a:effectLst/>
                        </a:rPr>
                        <a:t>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7771008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D9F2282-E4BC-4922-91A2-B7ECB64D89EE}"/>
              </a:ext>
            </a:extLst>
          </p:cNvPr>
          <p:cNvSpPr txBox="1"/>
          <p:nvPr/>
        </p:nvSpPr>
        <p:spPr>
          <a:xfrm>
            <a:off x="478971" y="1419101"/>
            <a:ext cx="652351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b="1">
                <a:solidFill>
                  <a:srgbClr val="0E80C9"/>
                </a:solidFill>
                <a:latin typeface="Lato"/>
              </a:rPr>
              <a:t>Estructura principal</a:t>
            </a:r>
            <a:endParaRPr lang="es-E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266D8EF3-3FC0-4749-95AA-8713E7BC4B9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4036" y="231413"/>
            <a:ext cx="1041071" cy="61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346401"/>
      </p:ext>
    </p:extLst>
  </p:cSld>
  <p:clrMapOvr>
    <a:masterClrMapping/>
  </p:clrMapOvr>
  <p:transition advClick="0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sym typeface="Lato"/>
              </a:rPr>
              <a:t>Estructura de código fuente</a:t>
            </a:r>
            <a:endParaRPr lang="es-ES"/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7CEF300-7200-49F1-AFAB-5CA57E3F38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093088"/>
              </p:ext>
            </p:extLst>
          </p:nvPr>
        </p:nvGraphicFramePr>
        <p:xfrm>
          <a:off x="3107376" y="2196935"/>
          <a:ext cx="8092681" cy="43569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1922">
                  <a:extLst>
                    <a:ext uri="{9D8B030D-6E8A-4147-A177-3AD203B41FA5}">
                      <a16:colId xmlns:a16="http://schemas.microsoft.com/office/drawing/2014/main" val="4014937250"/>
                    </a:ext>
                  </a:extLst>
                </a:gridCol>
                <a:gridCol w="6370759">
                  <a:extLst>
                    <a:ext uri="{9D8B030D-6E8A-4147-A177-3AD203B41FA5}">
                      <a16:colId xmlns:a16="http://schemas.microsoft.com/office/drawing/2014/main" val="3684198415"/>
                    </a:ext>
                  </a:extLst>
                </a:gridCol>
              </a:tblGrid>
              <a:tr h="37559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800" kern="1200">
                          <a:effectLst/>
                        </a:rPr>
                        <a:t>Directorio/</a:t>
                      </a:r>
                      <a:r>
                        <a:rPr lang="es-ES" sz="1800" kern="1200" err="1">
                          <a:effectLst/>
                        </a:rPr>
                        <a:t>Arch</a:t>
                      </a:r>
                      <a:r>
                        <a:rPr lang="es-ES" sz="1800" kern="1200">
                          <a:effectLst/>
                        </a:rPr>
                        <a:t>.</a:t>
                      </a:r>
                      <a:endParaRPr lang="es-E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800" kern="1200">
                          <a:effectLst/>
                        </a:rPr>
                        <a:t>Descripción</a:t>
                      </a:r>
                      <a:endParaRPr lang="es-ES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99925364"/>
                  </a:ext>
                </a:extLst>
              </a:tr>
              <a:tr h="651039"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 err="1">
                          <a:effectLst/>
                        </a:rPr>
                        <a:t>commo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b="0" i="0" u="none" strike="noStrike" kern="1200" noProof="0">
                          <a:effectLst/>
                          <a:latin typeface="Calibri"/>
                        </a:rPr>
                        <a:t>Archivos de configuración transversal.</a:t>
                      </a:r>
                      <a:endParaRPr lang="es-ES"/>
                    </a:p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Los nombres deben estar en singular:</a:t>
                      </a:r>
                    </a:p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Ejemplo: dbObjectManager.j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35271229"/>
                  </a:ext>
                </a:extLst>
              </a:tr>
              <a:tr h="65103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400" kern="1200" err="1">
                          <a:effectLst/>
                        </a:rPr>
                        <a:t>controllers</a:t>
                      </a:r>
                      <a:endParaRPr lang="es-ES" sz="1400" err="1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b="0" i="0" u="none" strike="noStrike" kern="1200" noProof="0">
                          <a:effectLst/>
                          <a:latin typeface="Calibri"/>
                        </a:rPr>
                        <a:t>Directorio que incluye los archivos necesarios para el tratamiento de la lógica de negocio.</a:t>
                      </a:r>
                      <a:endParaRPr lang="es-ES"/>
                    </a:p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Los nombres deben ser en plural, excepto index.js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44576276"/>
                  </a:ext>
                </a:extLst>
              </a:tr>
              <a:tr h="651039"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 err="1">
                          <a:effectLst/>
                        </a:rPr>
                        <a:t>models</a:t>
                      </a:r>
                      <a:endParaRPr lang="es-ES" err="1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b="0" i="0" u="none" strike="noStrike" kern="1200" noProof="0">
                          <a:effectLst/>
                          <a:latin typeface="Calibri"/>
                        </a:rPr>
                        <a:t>Directorio que involucra los modelos de clases a ser usados en el proyecto.</a:t>
                      </a:r>
                      <a:endParaRPr lang="es-ES"/>
                    </a:p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Los nombres de modelos deben está en plural.</a:t>
                      </a:r>
                    </a:p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Ejemplo: stocks.j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87987613"/>
                  </a:ext>
                </a:extLst>
              </a:tr>
              <a:tr h="550879"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 err="1">
                          <a:effectLst/>
                        </a:rPr>
                        <a:t>repositorie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b="0" i="0" u="none" strike="noStrike" kern="1200" noProof="0">
                          <a:effectLst/>
                        </a:rPr>
                        <a:t>Directorio que incluye los archivos que interactúa con el repositorio de datos.</a:t>
                      </a:r>
                      <a:endParaRPr lang="es-ES"/>
                    </a:p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b="0" i="0" u="none" strike="noStrike" kern="1200" noProof="0">
                          <a:effectLst/>
                          <a:latin typeface="Calibri"/>
                        </a:rPr>
                        <a:t>Los nombres deben ser en plural, excepto index.js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89740771"/>
                  </a:ext>
                </a:extLst>
              </a:tr>
              <a:tr h="663558"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 err="1">
                          <a:effectLst/>
                        </a:rPr>
                        <a:t>route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b="0" i="0" u="none" strike="noStrike" kern="1200" noProof="0">
                          <a:effectLst/>
                        </a:rPr>
                        <a:t>Contiene los archivos para la creación de interfaces de la API.</a:t>
                      </a:r>
                      <a:endParaRPr lang="es-ES"/>
                    </a:p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b="0" i="0" u="none" strike="noStrike" kern="1200" noProof="0">
                          <a:effectLst/>
                          <a:latin typeface="Calibri"/>
                        </a:rPr>
                        <a:t>Los nombres deben ser en plural, por el momento solo está definido routes.js.</a:t>
                      </a:r>
                      <a:endParaRPr lang="es-ES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41013234"/>
                  </a:ext>
                </a:extLst>
              </a:tr>
              <a:tr h="438199"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 err="1">
                          <a:effectLst/>
                        </a:rPr>
                        <a:t>utils</a:t>
                      </a:r>
                      <a:endParaRPr lang="es-ES" err="1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Contiene todos los archivos adicionales utilizados para el proyecto y deben estar escritos en singular.</a:t>
                      </a:r>
                      <a:endParaRPr lang="es-ES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04019779"/>
                  </a:ext>
                </a:extLst>
              </a:tr>
              <a:tr h="375599"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app.j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400" kern="1200">
                          <a:effectLst/>
                        </a:rPr>
                        <a:t>Configuración del manejador inicial del proyecto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2737779"/>
                  </a:ext>
                </a:extLst>
              </a:tr>
            </a:tbl>
          </a:graphicData>
        </a:graphic>
      </p:graphicFrame>
      <p:sp>
        <p:nvSpPr>
          <p:cNvPr id="5" name="Google Shape;64;p14">
            <a:extLst>
              <a:ext uri="{FF2B5EF4-FFF2-40B4-BE49-F238E27FC236}">
                <a16:creationId xmlns:a16="http://schemas.microsoft.com/office/drawing/2014/main" id="{9DBE9DF1-BF0A-4655-9638-0A8B5FD6120B}"/>
              </a:ext>
            </a:extLst>
          </p:cNvPr>
          <p:cNvSpPr txBox="1"/>
          <p:nvPr/>
        </p:nvSpPr>
        <p:spPr>
          <a:xfrm>
            <a:off x="2988622" y="1742040"/>
            <a:ext cx="8421413" cy="360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_tradnl">
                <a:solidFill>
                  <a:srgbClr val="445469"/>
                </a:solidFill>
                <a:latin typeface="Lato"/>
              </a:rPr>
              <a:t>Todos los nombres de archivos y carpetas deben estar escritos en inglés.</a:t>
            </a:r>
          </a:p>
        </p:txBody>
      </p:sp>
      <p:pic>
        <p:nvPicPr>
          <p:cNvPr id="6" name="Picture 6" descr="Imagen que contiene texto&#10;&#10;Descripción generada con confianza alta">
            <a:extLst>
              <a:ext uri="{FF2B5EF4-FFF2-40B4-BE49-F238E27FC236}">
                <a16:creationId xmlns:a16="http://schemas.microsoft.com/office/drawing/2014/main" id="{F8B526E7-EC7D-4A05-88CF-1CFBBEEC66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112" y="1807029"/>
            <a:ext cx="1982323" cy="477783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8EC9A2C-171F-4C8B-888D-EFABD6E249BE}"/>
              </a:ext>
            </a:extLst>
          </p:cNvPr>
          <p:cNvSpPr txBox="1"/>
          <p:nvPr/>
        </p:nvSpPr>
        <p:spPr>
          <a:xfrm>
            <a:off x="478969" y="1320139"/>
            <a:ext cx="652351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b="1">
                <a:solidFill>
                  <a:srgbClr val="0E80C9"/>
                </a:solidFill>
                <a:latin typeface="Lato"/>
              </a:rPr>
              <a:t>Estructura API</a:t>
            </a:r>
            <a:endParaRPr lang="es-E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59164D49-6954-4AC5-995A-E703FC39F8D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4035" y="231412"/>
            <a:ext cx="1041071" cy="61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763300"/>
      </p:ext>
    </p:extLst>
  </p:cSld>
  <p:clrMapOvr>
    <a:masterClrMapping/>
  </p:clrMapOvr>
  <p:transition advClick="0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Microservicios: ¿Qué podemos mejorar?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1" name="Google Shape;64;p14">
            <a:extLst>
              <a:ext uri="{FF2B5EF4-FFF2-40B4-BE49-F238E27FC236}">
                <a16:creationId xmlns:a16="http://schemas.microsoft.com/office/drawing/2014/main" id="{BC4A25D9-7E73-1143-8885-0A4B2092F7BB}"/>
              </a:ext>
            </a:extLst>
          </p:cNvPr>
          <p:cNvSpPr txBox="1"/>
          <p:nvPr/>
        </p:nvSpPr>
        <p:spPr>
          <a:xfrm>
            <a:off x="6096000" y="1783647"/>
            <a:ext cx="5660400" cy="42302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Necesitamos definir una arquitectura estándar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Necesitamos incluir una tecnología estándar para REST API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FC982B8-69E4-5E4A-B876-E62A7FC1360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799" y="1581030"/>
            <a:ext cx="4584700" cy="463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700783"/>
      </p:ext>
    </p:extLst>
  </p:cSld>
  <p:clrMapOvr>
    <a:masterClrMapping/>
  </p:clrMapOvr>
  <p:transition advClick="0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45"/>
          <p:cNvSpPr/>
          <p:nvPr/>
        </p:nvSpPr>
        <p:spPr>
          <a:xfrm>
            <a:off x="-167" y="0"/>
            <a:ext cx="12192000" cy="6858000"/>
          </a:xfrm>
          <a:prstGeom prst="rect">
            <a:avLst/>
          </a:prstGeom>
          <a:solidFill>
            <a:srgbClr val="282C34">
              <a:alpha val="7765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293" name="Google Shape;293;p45"/>
          <p:cNvSpPr txBox="1">
            <a:spLocks noGrp="1"/>
          </p:cNvSpPr>
          <p:nvPr>
            <p:ph type="title"/>
          </p:nvPr>
        </p:nvSpPr>
        <p:spPr>
          <a:xfrm>
            <a:off x="340400" y="2438600"/>
            <a:ext cx="5755600" cy="1980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-ES_tradnl" sz="585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Middleware recomendados</a:t>
            </a:r>
            <a:endParaRPr lang="es-ES_tradnl" sz="5850">
              <a:solidFill>
                <a:srgbClr val="FFFFFF"/>
              </a:solidFill>
              <a:latin typeface="Lato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3119690456"/>
      </p:ext>
    </p:extLst>
  </p:cSld>
  <p:clrMapOvr>
    <a:masterClrMapping/>
  </p:clrMapOvr>
  <p:transition advClick="0"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Imagen que contiene captura de pantalla&#10;&#10;Descripción generada con confianza muy alta">
            <a:extLst>
              <a:ext uri="{FF2B5EF4-FFF2-40B4-BE49-F238E27FC236}">
                <a16:creationId xmlns:a16="http://schemas.microsoft.com/office/drawing/2014/main" id="{F1B46E85-26D2-401C-874B-17842C1123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7CC2527-562A-4F69-B487-4371E5B243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White">
          <a:xfrm>
            <a:off x="7488621" y="2277613"/>
            <a:ext cx="4703379" cy="4580387"/>
          </a:xfrm>
          <a:custGeom>
            <a:avLst/>
            <a:gdLst>
              <a:gd name="T0" fmla="*/ 1333 w 1333"/>
              <a:gd name="T1" fmla="*/ 1031 h 1298"/>
              <a:gd name="T2" fmla="*/ 1333 w 1333"/>
              <a:gd name="T3" fmla="*/ 380 h 1298"/>
              <a:gd name="T4" fmla="*/ 706 w 1333"/>
              <a:gd name="T5" fmla="*/ 0 h 1298"/>
              <a:gd name="T6" fmla="*/ 0 w 1333"/>
              <a:gd name="T7" fmla="*/ 706 h 1298"/>
              <a:gd name="T8" fmla="*/ 323 w 1333"/>
              <a:gd name="T9" fmla="*/ 1298 h 1298"/>
              <a:gd name="T10" fmla="*/ 1090 w 1333"/>
              <a:gd name="T11" fmla="*/ 1298 h 1298"/>
              <a:gd name="T12" fmla="*/ 1333 w 1333"/>
              <a:gd name="T13" fmla="*/ 1031 h 1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3" h="1298">
                <a:moveTo>
                  <a:pt x="1333" y="1031"/>
                </a:moveTo>
                <a:cubicBezTo>
                  <a:pt x="1333" y="380"/>
                  <a:pt x="1333" y="380"/>
                  <a:pt x="1333" y="380"/>
                </a:cubicBezTo>
                <a:cubicBezTo>
                  <a:pt x="1215" y="154"/>
                  <a:pt x="979" y="0"/>
                  <a:pt x="706" y="0"/>
                </a:cubicBezTo>
                <a:cubicBezTo>
                  <a:pt x="317" y="0"/>
                  <a:pt x="0" y="316"/>
                  <a:pt x="0" y="706"/>
                </a:cubicBezTo>
                <a:cubicBezTo>
                  <a:pt x="0" y="954"/>
                  <a:pt x="129" y="1172"/>
                  <a:pt x="323" y="1298"/>
                </a:cubicBezTo>
                <a:cubicBezTo>
                  <a:pt x="1090" y="1298"/>
                  <a:pt x="1090" y="1298"/>
                  <a:pt x="1090" y="1298"/>
                </a:cubicBezTo>
                <a:cubicBezTo>
                  <a:pt x="1193" y="1232"/>
                  <a:pt x="1276" y="1140"/>
                  <a:pt x="1333" y="103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50800" cap="sq" cmpd="dbl">
            <a:noFill/>
            <a:miter lim="800000"/>
          </a:ln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algn="ctr">
              <a:spcAft>
                <a:spcPts val="1000"/>
              </a:spcAft>
              <a:buClr>
                <a:schemeClr val="tx1"/>
              </a:buClr>
              <a:buSzPct val="100000"/>
              <a:buFont typeface="Arial"/>
              <a:buNone/>
            </a:pPr>
            <a:endParaRPr lang="en-US" sz="1600" cap="al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99E63-CC8B-44D7-9DE7-B17EB32DC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2021" y="3231931"/>
            <a:ext cx="3852041" cy="1834056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000"/>
              <a:t>SWAGG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E6854D-EADD-491C-A7E1-8498573BBF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82910" y="5242675"/>
            <a:ext cx="4330262" cy="683284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Framework de documentación de API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DAEC91-5BCE-4B55-9CC0-43EF94CB73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480331" y="5123793"/>
            <a:ext cx="935420" cy="0"/>
          </a:xfrm>
          <a:prstGeom prst="line">
            <a:avLst/>
          </a:prstGeom>
          <a:ln w="25400" cap="sq">
            <a:solidFill>
              <a:schemeClr val="tx1">
                <a:lumMod val="85000"/>
                <a:lumOff val="15000"/>
              </a:schemeClr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13583"/>
      </p:ext>
    </p:extLst>
  </p:cSld>
  <p:clrMapOvr>
    <a:masterClrMapping/>
  </p:clrMapOvr>
  <p:transition advClick="0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7E4738-1952-424E-AFE0-FD990EC30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5882" y="4267832"/>
            <a:ext cx="4805996" cy="140144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400">
                <a:solidFill>
                  <a:srgbClr val="000000"/>
                </a:solidFill>
              </a:rPr>
              <a:t>app.j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3E306-05F4-4008-A7F6-169E9044F9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586186" y="3428999"/>
            <a:ext cx="4805691" cy="83883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800">
                <a:solidFill>
                  <a:srgbClr val="000000"/>
                </a:solidFill>
              </a:rPr>
              <a:t>Se invoca al manejador de swagger para incluirlo en la aplicación.</a:t>
            </a:r>
          </a:p>
        </p:txBody>
      </p:sp>
      <p:sp>
        <p:nvSpPr>
          <p:cNvPr id="16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5" descr="Imagen que contiene captura de pantalla&#10;&#10;Descripción generada con confianza alta">
            <a:extLst>
              <a:ext uri="{FF2B5EF4-FFF2-40B4-BE49-F238E27FC236}">
                <a16:creationId xmlns:a16="http://schemas.microsoft.com/office/drawing/2014/main" id="{CA6C16AB-B1B1-4F8E-AE2A-3DE6A16D85C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744" y="158043"/>
            <a:ext cx="2369122" cy="6541912"/>
          </a:xfrm>
          <a:prstGeom prst="rect">
            <a:avLst/>
          </a:prstGeom>
        </p:spPr>
      </p:pic>
      <p:pic>
        <p:nvPicPr>
          <p:cNvPr id="7" name="Picture 5" descr="Imagen que contiene imágenes prediseñadas&#10;&#10;Descripción generada con confianza muy alta">
            <a:extLst>
              <a:ext uri="{FF2B5EF4-FFF2-40B4-BE49-F238E27FC236}">
                <a16:creationId xmlns:a16="http://schemas.microsoft.com/office/drawing/2014/main" id="{BCB4E841-5699-40E6-ACE0-1601E1EB560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60159" y="68816"/>
            <a:ext cx="561388" cy="56138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ECAD1F6-0AE2-254B-A400-931E66C809B8}"/>
              </a:ext>
            </a:extLst>
          </p:cNvPr>
          <p:cNvSpPr txBox="1"/>
          <p:nvPr/>
        </p:nvSpPr>
        <p:spPr>
          <a:xfrm>
            <a:off x="2324100" y="4476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_tradnl"/>
          </a:p>
        </p:txBody>
      </p:sp>
      <p:pic>
        <p:nvPicPr>
          <p:cNvPr id="13" name="Picture 14" descr="Imagen que contiene captura de pantalla, texto&#10;&#10;Descripción generada con confianza muy alta">
            <a:extLst>
              <a:ext uri="{FF2B5EF4-FFF2-40B4-BE49-F238E27FC236}">
                <a16:creationId xmlns:a16="http://schemas.microsoft.com/office/drawing/2014/main" id="{4FEC8E14-3BB9-40FE-B884-4873EC8379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8783" y="1411601"/>
            <a:ext cx="4832601" cy="487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629342"/>
      </p:ext>
    </p:extLst>
  </p:cSld>
  <p:clrMapOvr>
    <a:masterClrMapping/>
  </p:clrMapOvr>
  <p:transition advClick="0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7E4738-1952-424E-AFE0-FD990EC30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1740" y="2187115"/>
            <a:ext cx="4805996" cy="140144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400" err="1">
                <a:solidFill>
                  <a:srgbClr val="000000"/>
                </a:solidFill>
              </a:rPr>
              <a:t>swagger.js</a:t>
            </a:r>
            <a:endParaRPr lang="en-US" sz="4400">
              <a:solidFill>
                <a:srgbClr val="00000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3E306-05F4-4008-A7F6-169E9044F9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70782" y="1232663"/>
            <a:ext cx="4805691" cy="83883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800" err="1">
                <a:solidFill>
                  <a:srgbClr val="000000"/>
                </a:solidFill>
              </a:rPr>
              <a:t>Implementa</a:t>
            </a:r>
            <a:r>
              <a:rPr lang="en-US" sz="1800">
                <a:solidFill>
                  <a:srgbClr val="000000"/>
                </a:solidFill>
              </a:rPr>
              <a:t> el framework de swagger </a:t>
            </a:r>
            <a:r>
              <a:rPr lang="en-US" sz="1800" err="1">
                <a:solidFill>
                  <a:srgbClr val="000000"/>
                </a:solidFill>
              </a:rPr>
              <a:t>en</a:t>
            </a:r>
            <a:r>
              <a:rPr lang="en-US" sz="1800">
                <a:solidFill>
                  <a:srgbClr val="000000"/>
                </a:solidFill>
              </a:rPr>
              <a:t> </a:t>
            </a:r>
            <a:r>
              <a:rPr lang="en-US" sz="1800" err="1">
                <a:solidFill>
                  <a:srgbClr val="000000"/>
                </a:solidFill>
              </a:rPr>
              <a:t>koa</a:t>
            </a:r>
            <a:r>
              <a:rPr lang="en-US" sz="1800">
                <a:solidFill>
                  <a:srgbClr val="000000"/>
                </a:solidFill>
              </a:rPr>
              <a:t> y </a:t>
            </a:r>
            <a:r>
              <a:rPr lang="en-US" sz="1800" err="1">
                <a:solidFill>
                  <a:srgbClr val="000000"/>
                </a:solidFill>
              </a:rPr>
              <a:t>carga</a:t>
            </a:r>
            <a:r>
              <a:rPr lang="en-US" sz="1800">
                <a:solidFill>
                  <a:srgbClr val="000000"/>
                </a:solidFill>
              </a:rPr>
              <a:t> el </a:t>
            </a:r>
            <a:r>
              <a:rPr lang="en-US" sz="1800" err="1">
                <a:solidFill>
                  <a:srgbClr val="000000"/>
                </a:solidFill>
              </a:rPr>
              <a:t>contenido</a:t>
            </a:r>
            <a:r>
              <a:rPr lang="en-US" sz="1800">
                <a:solidFill>
                  <a:srgbClr val="000000"/>
                </a:solidFill>
              </a:rPr>
              <a:t> de la </a:t>
            </a:r>
            <a:r>
              <a:rPr lang="en-US" sz="1800" err="1">
                <a:solidFill>
                  <a:srgbClr val="000000"/>
                </a:solidFill>
              </a:rPr>
              <a:t>especificación</a:t>
            </a:r>
            <a:r>
              <a:rPr lang="en-US" sz="1800">
                <a:solidFill>
                  <a:srgbClr val="000000"/>
                </a:solidFill>
              </a:rPr>
              <a:t> del API.</a:t>
            </a:r>
          </a:p>
        </p:txBody>
      </p:sp>
      <p:sp>
        <p:nvSpPr>
          <p:cNvPr id="16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4" descr="Imagen que contiene captura de pantalla&#10;&#10;Descripción generada con confianza alta">
            <a:extLst>
              <a:ext uri="{FF2B5EF4-FFF2-40B4-BE49-F238E27FC236}">
                <a16:creationId xmlns:a16="http://schemas.microsoft.com/office/drawing/2014/main" id="{EFB8BE94-8C6A-4038-95CA-FBF5335EDC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9519" y="158335"/>
            <a:ext cx="2374160" cy="4525929"/>
          </a:xfrm>
          <a:prstGeom prst="rect">
            <a:avLst/>
          </a:prstGeom>
        </p:spPr>
      </p:pic>
      <p:pic>
        <p:nvPicPr>
          <p:cNvPr id="7" name="Picture 5" descr="Imagen que contiene imágenes prediseñadas&#10;&#10;Descripción generada con confianza muy alta">
            <a:extLst>
              <a:ext uri="{FF2B5EF4-FFF2-40B4-BE49-F238E27FC236}">
                <a16:creationId xmlns:a16="http://schemas.microsoft.com/office/drawing/2014/main" id="{B442D603-B3FB-4D75-9DF0-9591885285D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60159" y="68816"/>
            <a:ext cx="561388" cy="561388"/>
          </a:xfrm>
          <a:prstGeom prst="rect">
            <a:avLst/>
          </a:prstGeom>
        </p:spPr>
      </p:pic>
      <p:pic>
        <p:nvPicPr>
          <p:cNvPr id="6" name="Picture 6" descr="Imagen que contiene captura de pantalla, pantalla, negro, monitor&#10;&#10;Descripción generada con confianza alta">
            <a:extLst>
              <a:ext uri="{FF2B5EF4-FFF2-40B4-BE49-F238E27FC236}">
                <a16:creationId xmlns:a16="http://schemas.microsoft.com/office/drawing/2014/main" id="{66BF235D-FCB6-4199-81BC-2391713DA00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595900" y="3304157"/>
            <a:ext cx="5781675" cy="2466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767864"/>
      </p:ext>
    </p:extLst>
  </p:cSld>
  <p:clrMapOvr>
    <a:masterClrMapping/>
  </p:clrMapOvr>
  <p:transition advClick="0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13F3A85-E56F-48DB-B7E0-F69AA92BA842}"/>
              </a:ext>
            </a:extLst>
          </p:cNvPr>
          <p:cNvSpPr/>
          <p:nvPr/>
        </p:nvSpPr>
        <p:spPr>
          <a:xfrm>
            <a:off x="6267710" y="5065533"/>
            <a:ext cx="5529875" cy="1637699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3E306-05F4-4008-A7F6-169E9044F9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39481" y="4962399"/>
            <a:ext cx="4805691" cy="83883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800">
                <a:solidFill>
                  <a:srgbClr val="000000"/>
                </a:solidFill>
              </a:rPr>
              <a:t>Define la </a:t>
            </a:r>
            <a:r>
              <a:rPr lang="en-US" sz="1800" err="1">
                <a:solidFill>
                  <a:srgbClr val="000000"/>
                </a:solidFill>
              </a:rPr>
              <a:t>estructura</a:t>
            </a:r>
            <a:r>
              <a:rPr lang="en-US" sz="1800">
                <a:solidFill>
                  <a:srgbClr val="000000"/>
                </a:solidFill>
              </a:rPr>
              <a:t> de la </a:t>
            </a:r>
            <a:r>
              <a:rPr lang="en-US" sz="1800" err="1">
                <a:solidFill>
                  <a:srgbClr val="000000"/>
                </a:solidFill>
              </a:rPr>
              <a:t>documentación</a:t>
            </a:r>
            <a:r>
              <a:rPr lang="en-US" sz="1800">
                <a:solidFill>
                  <a:srgbClr val="000000"/>
                </a:solidFill>
              </a:rPr>
              <a:t> del AP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7E4738-1952-424E-AFE0-FD990EC30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2733" y="5801232"/>
            <a:ext cx="4805996" cy="140144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400" err="1">
                <a:solidFill>
                  <a:srgbClr val="000000"/>
                </a:solidFill>
              </a:rPr>
              <a:t>docs.yaml</a:t>
            </a:r>
          </a:p>
        </p:txBody>
      </p:sp>
      <p:pic>
        <p:nvPicPr>
          <p:cNvPr id="4" name="Picture 4" descr="Imagen que contiene captura de pantalla, texto&#10;&#10;Descripción generada con confianza alta">
            <a:extLst>
              <a:ext uri="{FF2B5EF4-FFF2-40B4-BE49-F238E27FC236}">
                <a16:creationId xmlns:a16="http://schemas.microsoft.com/office/drawing/2014/main" id="{999724B8-0BDC-4613-B8E3-2CF450AB856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15" y="68816"/>
            <a:ext cx="2229018" cy="6146799"/>
          </a:xfrm>
          <a:prstGeom prst="rect">
            <a:avLst/>
          </a:prstGeom>
        </p:spPr>
      </p:pic>
      <p:pic>
        <p:nvPicPr>
          <p:cNvPr id="6" name="Picture 5" descr="Imagen que contiene imágenes prediseñadas&#10;&#10;Descripción generada con confianza muy alta">
            <a:extLst>
              <a:ext uri="{FF2B5EF4-FFF2-40B4-BE49-F238E27FC236}">
                <a16:creationId xmlns:a16="http://schemas.microsoft.com/office/drawing/2014/main" id="{611AA070-6C62-41BE-8853-01C39018389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60159" y="68816"/>
            <a:ext cx="561388" cy="561388"/>
          </a:xfrm>
          <a:prstGeom prst="rect">
            <a:avLst/>
          </a:prstGeom>
        </p:spPr>
      </p:pic>
      <p:pic>
        <p:nvPicPr>
          <p:cNvPr id="12" name="Picture 7" descr="Imagen que contiene captura de pantalla&#10;&#10;Descripción generada con confianza muy alta">
            <a:extLst>
              <a:ext uri="{FF2B5EF4-FFF2-40B4-BE49-F238E27FC236}">
                <a16:creationId xmlns:a16="http://schemas.microsoft.com/office/drawing/2014/main" id="{B78E3071-D4B9-F24D-9BA5-D01A1CC06AB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1932" y="396313"/>
            <a:ext cx="10571842" cy="463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361212"/>
      </p:ext>
    </p:extLst>
  </p:cSld>
  <p:clrMapOvr>
    <a:masterClrMapping/>
  </p:clrMapOvr>
  <p:transition advClick="0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BB80DD76-9F92-4CBB-BACE-614116DEC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01" y="629266"/>
            <a:ext cx="3832895" cy="167660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err="1">
                <a:cs typeface="Calibri Light"/>
              </a:rPr>
              <a:t>Documentación</a:t>
            </a:r>
            <a:endParaRPr lang="en-US" sz="440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4937010-8918-4A66-9412-B48615ACAD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8931" y="2438400"/>
            <a:ext cx="3651466" cy="3785419"/>
          </a:xfrm>
        </p:spPr>
        <p:txBody>
          <a:bodyPr vert="horz" lIns="91440" tIns="45720" rIns="91440" bIns="45720" rtlCol="0" anchor="t">
            <a:normAutofit/>
          </a:bodyPr>
          <a:lstStyle/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cs typeface="Calibri"/>
              </a:rPr>
              <a:t>Se </a:t>
            </a:r>
            <a:r>
              <a:rPr lang="en-US" sz="1800" err="1">
                <a:cs typeface="Calibri"/>
              </a:rPr>
              <a:t>estructura</a:t>
            </a:r>
            <a:r>
              <a:rPr lang="en-US" sz="1800">
                <a:cs typeface="Calibri"/>
              </a:rPr>
              <a:t> la </a:t>
            </a:r>
            <a:r>
              <a:rPr lang="en-US" sz="1800" err="1">
                <a:cs typeface="Calibri"/>
              </a:rPr>
              <a:t>descripción</a:t>
            </a:r>
            <a:r>
              <a:rPr lang="en-US" sz="1800">
                <a:cs typeface="Calibri"/>
              </a:rPr>
              <a:t> del API </a:t>
            </a:r>
            <a:r>
              <a:rPr lang="en-US" sz="1800" err="1">
                <a:cs typeface="Calibri"/>
              </a:rPr>
              <a:t>definiendo</a:t>
            </a:r>
            <a:r>
              <a:rPr lang="en-US" sz="1800">
                <a:cs typeface="Calibri"/>
              </a:rPr>
              <a:t> 2 </a:t>
            </a:r>
            <a:r>
              <a:rPr lang="en-US" sz="1800" err="1">
                <a:cs typeface="Calibri"/>
              </a:rPr>
              <a:t>secciones</a:t>
            </a:r>
            <a:r>
              <a:rPr lang="en-US" sz="1800">
                <a:cs typeface="Calibri"/>
              </a:rPr>
              <a:t> :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600" b="1" err="1">
                <a:solidFill>
                  <a:srgbClr val="FF0000"/>
                </a:solidFill>
                <a:cs typeface="Calibri"/>
              </a:rPr>
              <a:t>Parámetros</a:t>
            </a:r>
            <a:endParaRPr lang="en-US" sz="1600" b="1">
              <a:solidFill>
                <a:srgbClr val="FF0000"/>
              </a:solidFill>
              <a:cs typeface="Calibri"/>
            </a:endParaRPr>
          </a:p>
          <a:p>
            <a:pPr lvl="2" indent="-22860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Input</a:t>
            </a:r>
          </a:p>
          <a:p>
            <a:pPr lvl="2" indent="-22860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Output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600">
                <a:cs typeface="Calibri"/>
              </a:rPr>
              <a:t>Examples</a:t>
            </a:r>
          </a:p>
          <a:p>
            <a:pPr lvl="2" indent="-22860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Example 1</a:t>
            </a:r>
          </a:p>
          <a:p>
            <a:pPr lvl="2" indent="-22860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Example2</a:t>
            </a:r>
          </a:p>
          <a:p>
            <a:pPr lvl="2" indent="-22860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…</a:t>
            </a:r>
          </a:p>
        </p:txBody>
      </p:sp>
      <p:pic>
        <p:nvPicPr>
          <p:cNvPr id="6" name="Picture 7" descr="Imagen que contiene captura de pantalla&#10;&#10;Descripción generada con confianza muy alta">
            <a:extLst>
              <a:ext uri="{FF2B5EF4-FFF2-40B4-BE49-F238E27FC236}">
                <a16:creationId xmlns:a16="http://schemas.microsoft.com/office/drawing/2014/main" id="{EF870DE8-54EB-4697-BD6C-B375F5D648A5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9056" y="10"/>
            <a:ext cx="7552944" cy="6857990"/>
          </a:xfrm>
          <a:prstGeom prst="rect">
            <a:avLst/>
          </a:prstGeom>
          <a:effectLst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AE523C8-EF14-47DB-B85E-4BBC333CD1A4}"/>
              </a:ext>
            </a:extLst>
          </p:cNvPr>
          <p:cNvSpPr txBox="1"/>
          <p:nvPr/>
        </p:nvSpPr>
        <p:spPr>
          <a:xfrm>
            <a:off x="234043" y="6157685"/>
            <a:ext cx="440326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s-ES" i="1"/>
              <a:t>*Esta especificación se coloca en el </a:t>
            </a:r>
            <a:r>
              <a:rPr lang="es-ES" b="1" i="1"/>
              <a:t>description </a:t>
            </a:r>
            <a:r>
              <a:rPr lang="es-ES" i="1"/>
              <a:t>del API soportado por </a:t>
            </a:r>
            <a:r>
              <a:rPr lang="es-ES" b="1" i="1"/>
              <a:t>Markdown</a:t>
            </a:r>
            <a:endParaRPr lang="es-ES" b="1" i="1">
              <a:cs typeface="Calibri"/>
            </a:endParaRPr>
          </a:p>
        </p:txBody>
      </p:sp>
      <p:pic>
        <p:nvPicPr>
          <p:cNvPr id="4" name="Picture 5" descr="Imagen que contiene imágenes prediseñadas&#10;&#10;Descripción generada con confianza muy alta">
            <a:extLst>
              <a:ext uri="{FF2B5EF4-FFF2-40B4-BE49-F238E27FC236}">
                <a16:creationId xmlns:a16="http://schemas.microsoft.com/office/drawing/2014/main" id="{895E868B-FD19-48C7-B7ED-E04D6248C38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60159" y="68816"/>
            <a:ext cx="561388" cy="561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803423"/>
      </p:ext>
    </p:extLst>
  </p:cSld>
  <p:clrMapOvr>
    <a:masterClrMapping/>
  </p:clrMapOvr>
  <p:transition advClick="0"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n que contiene captura de pantalla&#10;&#10;Descripción generada con confianza muy alta">
            <a:extLst>
              <a:ext uri="{FF2B5EF4-FFF2-40B4-BE49-F238E27FC236}">
                <a16:creationId xmlns:a16="http://schemas.microsoft.com/office/drawing/2014/main" id="{11DA2348-F3DE-4C7A-A266-E4EFB820F0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7718" y="3255"/>
            <a:ext cx="12322628" cy="6851826"/>
          </a:xfrm>
          <a:prstGeom prst="rect">
            <a:avLst/>
          </a:prstGeom>
        </p:spPr>
      </p:pic>
      <p:sp>
        <p:nvSpPr>
          <p:cNvPr id="19" name="Title 18">
            <a:extLst>
              <a:ext uri="{FF2B5EF4-FFF2-40B4-BE49-F238E27FC236}">
                <a16:creationId xmlns:a16="http://schemas.microsoft.com/office/drawing/2014/main" id="{BB80DD76-9F92-4CBB-BACE-614116DEC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01" y="629266"/>
            <a:ext cx="3832895" cy="167660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err="1">
                <a:cs typeface="Calibri Light"/>
              </a:rPr>
              <a:t>Documentación</a:t>
            </a:r>
            <a:endParaRPr lang="en-US" sz="4400" err="1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4937010-8918-4A66-9412-B48615ACAD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8931" y="2438400"/>
            <a:ext cx="3651466" cy="3785419"/>
          </a:xfrm>
        </p:spPr>
        <p:txBody>
          <a:bodyPr vert="horz" lIns="91440" tIns="45720" rIns="91440" bIns="45720" rtlCol="0" anchor="t">
            <a:normAutofit/>
          </a:bodyPr>
          <a:lstStyle/>
          <a:p>
            <a:pPr indent="-228600">
              <a:buFont typeface="Arial" panose="020B0604020202020204" pitchFamily="34" charset="0"/>
              <a:buChar char="•"/>
            </a:pPr>
            <a:r>
              <a:rPr lang="en-US" sz="1800">
                <a:cs typeface="Calibri"/>
              </a:rPr>
              <a:t>Se </a:t>
            </a:r>
            <a:r>
              <a:rPr lang="en-US" sz="1800" err="1">
                <a:cs typeface="Calibri"/>
              </a:rPr>
              <a:t>estructura</a:t>
            </a:r>
            <a:r>
              <a:rPr lang="en-US" sz="1800">
                <a:cs typeface="Calibri"/>
              </a:rPr>
              <a:t> la </a:t>
            </a:r>
            <a:r>
              <a:rPr lang="en-US" sz="1800" err="1">
                <a:cs typeface="Calibri"/>
              </a:rPr>
              <a:t>descripción</a:t>
            </a:r>
            <a:r>
              <a:rPr lang="en-US" sz="1800">
                <a:cs typeface="Calibri"/>
              </a:rPr>
              <a:t> del API </a:t>
            </a:r>
            <a:r>
              <a:rPr lang="en-US" sz="1800" err="1">
                <a:cs typeface="Calibri"/>
              </a:rPr>
              <a:t>definiendo</a:t>
            </a:r>
            <a:r>
              <a:rPr lang="en-US" sz="1800">
                <a:cs typeface="Calibri"/>
              </a:rPr>
              <a:t> 2 </a:t>
            </a:r>
            <a:r>
              <a:rPr lang="en-US" sz="1800" err="1">
                <a:cs typeface="Calibri"/>
              </a:rPr>
              <a:t>secciones</a:t>
            </a:r>
            <a:r>
              <a:rPr lang="en-US" sz="1800">
                <a:cs typeface="Calibri"/>
              </a:rPr>
              <a:t> :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600" err="1">
                <a:cs typeface="Calibri"/>
              </a:rPr>
              <a:t>Parámetros</a:t>
            </a:r>
            <a:endParaRPr lang="en-US" sz="1600">
              <a:cs typeface="Calibri"/>
            </a:endParaRPr>
          </a:p>
          <a:p>
            <a:pPr lvl="2" indent="-22860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Input</a:t>
            </a:r>
          </a:p>
          <a:p>
            <a:pPr lvl="2" indent="-22860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Output</a:t>
            </a:r>
          </a:p>
          <a:p>
            <a:pPr lvl="1" indent="-228600"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rgbClr val="FF0000"/>
                </a:solidFill>
                <a:cs typeface="Calibri"/>
              </a:rPr>
              <a:t>Examples</a:t>
            </a:r>
          </a:p>
          <a:p>
            <a:pPr lvl="2" indent="-22860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Example 1</a:t>
            </a:r>
          </a:p>
          <a:p>
            <a:pPr lvl="2" indent="-22860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Example2</a:t>
            </a:r>
          </a:p>
          <a:p>
            <a:pPr lvl="2" indent="-228600">
              <a:buFont typeface="Arial" panose="020B0604020202020204" pitchFamily="34" charset="0"/>
              <a:buChar char="•"/>
            </a:pPr>
            <a:r>
              <a:rPr lang="en-US" sz="1400">
                <a:cs typeface="Calibri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5353A6F-07EA-48D0-827B-5A0D52FEA30D}"/>
              </a:ext>
            </a:extLst>
          </p:cNvPr>
          <p:cNvSpPr txBox="1"/>
          <p:nvPr/>
        </p:nvSpPr>
        <p:spPr>
          <a:xfrm>
            <a:off x="234043" y="6157685"/>
            <a:ext cx="440326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s-ES" i="1"/>
              <a:t>*Esta especificación se coloca en el </a:t>
            </a:r>
            <a:r>
              <a:rPr lang="es-ES" b="1" i="1"/>
              <a:t>description </a:t>
            </a:r>
            <a:r>
              <a:rPr lang="es-ES" i="1"/>
              <a:t>del API soportado por </a:t>
            </a:r>
            <a:r>
              <a:rPr lang="es-ES" b="1" i="1"/>
              <a:t>Markdown</a:t>
            </a:r>
            <a:endParaRPr lang="es-ES" b="1" i="1">
              <a:cs typeface="Calibri"/>
            </a:endParaRPr>
          </a:p>
        </p:txBody>
      </p:sp>
      <p:pic>
        <p:nvPicPr>
          <p:cNvPr id="5" name="Picture 5" descr="Imagen que contiene imágenes prediseñadas&#10;&#10;Descripción generada con confianza muy alta">
            <a:extLst>
              <a:ext uri="{FF2B5EF4-FFF2-40B4-BE49-F238E27FC236}">
                <a16:creationId xmlns:a16="http://schemas.microsoft.com/office/drawing/2014/main" id="{93A9AC52-03D0-426B-A234-B787D65B5F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60159" y="68816"/>
            <a:ext cx="561388" cy="561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860712"/>
      </p:ext>
    </p:extLst>
  </p:cSld>
  <p:clrMapOvr>
    <a:masterClrMapping/>
  </p:clrMapOvr>
  <p:transition advClick="0"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Imagen que contiene suelo, de madera, interior, sentado&#10;&#10;Descripción generada con confianza muy alta">
            <a:extLst>
              <a:ext uri="{FF2B5EF4-FFF2-40B4-BE49-F238E27FC236}">
                <a16:creationId xmlns:a16="http://schemas.microsoft.com/office/drawing/2014/main" id="{5B0A5450-1CFC-459A-B95E-E073D2236FE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6" name="Freeform 5">
            <a:extLst>
              <a:ext uri="{FF2B5EF4-FFF2-40B4-BE49-F238E27FC236}">
                <a16:creationId xmlns:a16="http://schemas.microsoft.com/office/drawing/2014/main" id="{87CC2527-562A-4F69-B487-4371E5B243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White">
          <a:xfrm>
            <a:off x="7488621" y="2277613"/>
            <a:ext cx="4703379" cy="4580387"/>
          </a:xfrm>
          <a:custGeom>
            <a:avLst/>
            <a:gdLst>
              <a:gd name="T0" fmla="*/ 1333 w 1333"/>
              <a:gd name="T1" fmla="*/ 1031 h 1298"/>
              <a:gd name="T2" fmla="*/ 1333 w 1333"/>
              <a:gd name="T3" fmla="*/ 380 h 1298"/>
              <a:gd name="T4" fmla="*/ 706 w 1333"/>
              <a:gd name="T5" fmla="*/ 0 h 1298"/>
              <a:gd name="T6" fmla="*/ 0 w 1333"/>
              <a:gd name="T7" fmla="*/ 706 h 1298"/>
              <a:gd name="T8" fmla="*/ 323 w 1333"/>
              <a:gd name="T9" fmla="*/ 1298 h 1298"/>
              <a:gd name="T10" fmla="*/ 1090 w 1333"/>
              <a:gd name="T11" fmla="*/ 1298 h 1298"/>
              <a:gd name="T12" fmla="*/ 1333 w 1333"/>
              <a:gd name="T13" fmla="*/ 1031 h 1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3" h="1298">
                <a:moveTo>
                  <a:pt x="1333" y="1031"/>
                </a:moveTo>
                <a:cubicBezTo>
                  <a:pt x="1333" y="380"/>
                  <a:pt x="1333" y="380"/>
                  <a:pt x="1333" y="380"/>
                </a:cubicBezTo>
                <a:cubicBezTo>
                  <a:pt x="1215" y="154"/>
                  <a:pt x="979" y="0"/>
                  <a:pt x="706" y="0"/>
                </a:cubicBezTo>
                <a:cubicBezTo>
                  <a:pt x="317" y="0"/>
                  <a:pt x="0" y="316"/>
                  <a:pt x="0" y="706"/>
                </a:cubicBezTo>
                <a:cubicBezTo>
                  <a:pt x="0" y="954"/>
                  <a:pt x="129" y="1172"/>
                  <a:pt x="323" y="1298"/>
                </a:cubicBezTo>
                <a:cubicBezTo>
                  <a:pt x="1090" y="1298"/>
                  <a:pt x="1090" y="1298"/>
                  <a:pt x="1090" y="1298"/>
                </a:cubicBezTo>
                <a:cubicBezTo>
                  <a:pt x="1193" y="1232"/>
                  <a:pt x="1276" y="1140"/>
                  <a:pt x="1333" y="103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50800" cap="sq" cmpd="dbl">
            <a:noFill/>
            <a:miter lim="800000"/>
          </a:ln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algn="ctr">
              <a:spcAft>
                <a:spcPts val="1000"/>
              </a:spcAft>
              <a:buClr>
                <a:schemeClr val="tx1"/>
              </a:buClr>
              <a:buSzPct val="100000"/>
              <a:buFont typeface="Arial"/>
              <a:buNone/>
            </a:pPr>
            <a:endParaRPr lang="en-US" sz="1600" cap="al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99E63-CC8B-44D7-9DE7-B17EB32DC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2021" y="3231931"/>
            <a:ext cx="3852041" cy="1834056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000">
                <a:cs typeface="Calibri Light"/>
              </a:rPr>
              <a:t>Chai + Moch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E6854D-EADD-491C-A7E1-8498573BBF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82910" y="5242675"/>
            <a:ext cx="4330262" cy="68328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Framework de pruebas unitaria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AEC91-5BCE-4B55-9CC0-43EF94CB73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480331" y="5123793"/>
            <a:ext cx="935420" cy="0"/>
          </a:xfrm>
          <a:prstGeom prst="line">
            <a:avLst/>
          </a:prstGeom>
          <a:ln w="25400" cap="sq">
            <a:solidFill>
              <a:schemeClr val="tx1">
                <a:lumMod val="85000"/>
                <a:lumOff val="15000"/>
              </a:schemeClr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2617831"/>
      </p:ext>
    </p:extLst>
  </p:cSld>
  <p:clrMapOvr>
    <a:masterClrMapping/>
  </p:clrMapOvr>
  <p:transition advClick="0"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7E4738-1952-424E-AFE0-FD990EC30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5882" y="4267832"/>
            <a:ext cx="4805996" cy="140144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400">
                <a:solidFill>
                  <a:srgbClr val="000000"/>
                </a:solidFill>
              </a:rPr>
              <a:t>app.spec.j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3E306-05F4-4008-A7F6-169E9044F9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586186" y="3428999"/>
            <a:ext cx="4805691" cy="83883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800">
                <a:solidFill>
                  <a:srgbClr val="000000"/>
                </a:solidFill>
              </a:rPr>
              <a:t>Se implementa chai en la definición de las pruebas unitarias.</a:t>
            </a:r>
            <a:endParaRPr lang="en-US" sz="1800">
              <a:solidFill>
                <a:srgbClr val="000000"/>
              </a:solidFill>
              <a:cs typeface="Calibri"/>
            </a:endParaRPr>
          </a:p>
        </p:txBody>
      </p:sp>
      <p:sp>
        <p:nvSpPr>
          <p:cNvPr id="16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1" descr="Imagen que contiene captura de pantalla, texto&#10;&#10;Descripción generada con confianza muy alta">
            <a:extLst>
              <a:ext uri="{FF2B5EF4-FFF2-40B4-BE49-F238E27FC236}">
                <a16:creationId xmlns:a16="http://schemas.microsoft.com/office/drawing/2014/main" id="{08402198-FD4E-4A3B-B8BB-68559C11CA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906" y="1141639"/>
            <a:ext cx="4864907" cy="4873625"/>
          </a:xfrm>
          <a:prstGeom prst="rect">
            <a:avLst/>
          </a:pr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181DDBE1-6947-4ED5-85A3-E5F5B5CDD00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8644" y="78240"/>
            <a:ext cx="495754" cy="551997"/>
          </a:xfrm>
          <a:prstGeom prst="rect">
            <a:avLst/>
          </a:prstGeom>
        </p:spPr>
      </p:pic>
      <p:pic>
        <p:nvPicPr>
          <p:cNvPr id="6" name="Picture 6" descr="Imagen que contiene texto, tarjeta de presentación&#10;&#10;Descripción generada con confianza alta">
            <a:extLst>
              <a:ext uri="{FF2B5EF4-FFF2-40B4-BE49-F238E27FC236}">
                <a16:creationId xmlns:a16="http://schemas.microsoft.com/office/drawing/2014/main" id="{1F8849CC-1EE0-4F43-A0E8-DDB6D85E4C2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1159" y="63725"/>
            <a:ext cx="493941" cy="56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486356"/>
      </p:ext>
    </p:extLst>
  </p:cSld>
  <p:clrMapOvr>
    <a:masterClrMapping/>
  </p:clrMapOvr>
  <p:transition advClick="0"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7E4738-1952-424E-AFE0-FD990EC30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8213" y="3333160"/>
            <a:ext cx="4805996" cy="140144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400">
                <a:solidFill>
                  <a:srgbClr val="000000"/>
                </a:solidFill>
                <a:cs typeface="Calibri Light"/>
              </a:rPr>
              <a:t>mocha.op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3E306-05F4-4008-A7F6-169E9044F9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548517" y="2494327"/>
            <a:ext cx="4805691" cy="83883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800">
                <a:solidFill>
                  <a:srgbClr val="000000"/>
                </a:solidFill>
              </a:rPr>
              <a:t>Definición de las opciones de mocha.js</a:t>
            </a:r>
            <a:endParaRPr lang="en-US" sz="1800">
              <a:solidFill>
                <a:srgbClr val="000000"/>
              </a:solidFill>
              <a:cs typeface="Calibri"/>
            </a:endParaRPr>
          </a:p>
        </p:txBody>
      </p:sp>
      <p:sp>
        <p:nvSpPr>
          <p:cNvPr id="16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Picture 6" descr="Imagen que contiene captura de pantalla&#10;&#10;Descripción generada con confianza muy alta">
            <a:extLst>
              <a:ext uri="{FF2B5EF4-FFF2-40B4-BE49-F238E27FC236}">
                <a16:creationId xmlns:a16="http://schemas.microsoft.com/office/drawing/2014/main" id="{8F007BB0-C136-47F9-BD03-DC802E0890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07496" y="2913743"/>
            <a:ext cx="5419725" cy="1438275"/>
          </a:xfrm>
          <a:prstGeom prst="rect">
            <a:avLst/>
          </a:pr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DFDCE685-C898-4E21-BABD-426ECEC6313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8644" y="78240"/>
            <a:ext cx="495754" cy="551997"/>
          </a:xfrm>
          <a:prstGeom prst="rect">
            <a:avLst/>
          </a:prstGeom>
        </p:spPr>
      </p:pic>
      <p:pic>
        <p:nvPicPr>
          <p:cNvPr id="5" name="Picture 6" descr="Imagen que contiene texto, tarjeta de presentación&#10;&#10;Descripción generada con confianza alta">
            <a:extLst>
              <a:ext uri="{FF2B5EF4-FFF2-40B4-BE49-F238E27FC236}">
                <a16:creationId xmlns:a16="http://schemas.microsoft.com/office/drawing/2014/main" id="{E4417876-3CDB-4744-BCA7-658B3A6408B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1159" y="63725"/>
            <a:ext cx="493941" cy="56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673717"/>
      </p:ext>
    </p:extLst>
  </p:cSld>
  <p:clrMapOvr>
    <a:masterClrMapping/>
  </p:clrMapOvr>
  <p:transition advClick="0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¿Por qué NodeJS?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" name="Google Shape;64;p14">
            <a:extLst>
              <a:ext uri="{FF2B5EF4-FFF2-40B4-BE49-F238E27FC236}">
                <a16:creationId xmlns:a16="http://schemas.microsoft.com/office/drawing/2014/main" id="{D8AB2455-C93D-E346-A6EC-B2C2E1DB4FDC}"/>
              </a:ext>
            </a:extLst>
          </p:cNvPr>
          <p:cNvSpPr txBox="1"/>
          <p:nvPr/>
        </p:nvSpPr>
        <p:spPr>
          <a:xfrm>
            <a:off x="6096000" y="1810693"/>
            <a:ext cx="5660400" cy="39744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_tradnl" sz="2400">
                <a:solidFill>
                  <a:srgbClr val="0E80C9"/>
                </a:solidFill>
                <a:latin typeface="Lato"/>
                <a:ea typeface="Lato"/>
                <a:cs typeface="Lato"/>
                <a:sym typeface="Lato"/>
              </a:rPr>
              <a:t>Problemas en </a:t>
            </a:r>
            <a:r>
              <a:rPr lang="es-ES_tradnl" sz="2400" err="1">
                <a:solidFill>
                  <a:srgbClr val="0E80C9"/>
                </a:solidFill>
                <a:latin typeface="Lato"/>
                <a:ea typeface="Lato"/>
                <a:cs typeface="Lato"/>
                <a:sym typeface="Lato"/>
              </a:rPr>
              <a:t>.Net</a:t>
            </a:r>
            <a:r>
              <a:rPr lang="es-ES_tradnl" sz="2400">
                <a:solidFill>
                  <a:srgbClr val="0E80C9"/>
                </a:solidFill>
                <a:latin typeface="Lato"/>
                <a:ea typeface="Lato"/>
                <a:cs typeface="Lato"/>
                <a:sym typeface="Lato"/>
              </a:rPr>
              <a:t> Core</a:t>
            </a:r>
          </a:p>
          <a:p>
            <a:pPr>
              <a:lnSpc>
                <a:spcPct val="150000"/>
              </a:lnSpc>
            </a:pPr>
            <a:endParaRPr lang="es-ES_tradnl" sz="2400" b="1">
              <a:solidFill>
                <a:srgbClr val="445469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A partir de </a:t>
            </a:r>
            <a:r>
              <a:rPr lang="es-ES_tradnl" b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400 usuarios 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el servicio se empieza a degradar.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No tiene un buen manejo del </a:t>
            </a:r>
            <a:r>
              <a:rPr lang="es-ES_tradnl" b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pool de conexiones 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con </a:t>
            </a:r>
            <a:r>
              <a:rPr lang="es-ES_tradnl" b="1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MongoDB</a:t>
            </a:r>
            <a:r>
              <a:rPr lang="es-ES_tradnl" b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.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0C16C8B-ABE6-BC46-8965-43C6E86403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2339207"/>
              </p:ext>
            </p:extLst>
          </p:nvPr>
        </p:nvGraphicFramePr>
        <p:xfrm>
          <a:off x="415600" y="1861178"/>
          <a:ext cx="5616000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06049192"/>
      </p:ext>
    </p:extLst>
  </p:cSld>
  <p:clrMapOvr>
    <a:masterClrMapping/>
  </p:clrMapOvr>
  <p:transition advClick="0"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7E4738-1952-424E-AFE0-FD990EC30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5882" y="3028331"/>
            <a:ext cx="4805996" cy="140144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400" err="1">
                <a:solidFill>
                  <a:srgbClr val="000000"/>
                </a:solidFill>
                <a:cs typeface="Calibri Light"/>
              </a:rPr>
              <a:t>Ejecución</a:t>
            </a:r>
            <a:r>
              <a:rPr lang="en-US" sz="4400">
                <a:solidFill>
                  <a:srgbClr val="000000"/>
                </a:solidFill>
                <a:cs typeface="Calibri Light"/>
              </a:rPr>
              <a:t> de </a:t>
            </a:r>
            <a:r>
              <a:rPr lang="en-US" sz="4400" err="1">
                <a:solidFill>
                  <a:srgbClr val="000000"/>
                </a:solidFill>
                <a:cs typeface="Calibri Light"/>
              </a:rPr>
              <a:t>mochawesome</a:t>
            </a:r>
            <a:endParaRPr lang="en-US" sz="4400">
              <a:solidFill>
                <a:srgbClr val="000000"/>
              </a:solidFill>
              <a:cs typeface="Calibri Ligh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3E306-05F4-4008-A7F6-169E9044F9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585882" y="2029619"/>
            <a:ext cx="4805691" cy="83883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800" err="1">
                <a:solidFill>
                  <a:srgbClr val="000000"/>
                </a:solidFill>
              </a:rPr>
              <a:t>Ejecuta</a:t>
            </a:r>
            <a:r>
              <a:rPr lang="en-US" sz="1800">
                <a:solidFill>
                  <a:srgbClr val="000000"/>
                </a:solidFill>
              </a:rPr>
              <a:t> la </a:t>
            </a:r>
            <a:r>
              <a:rPr lang="en-US" sz="1800" err="1">
                <a:solidFill>
                  <a:srgbClr val="000000"/>
                </a:solidFill>
              </a:rPr>
              <a:t>prueba</a:t>
            </a:r>
            <a:r>
              <a:rPr lang="en-US" sz="1800">
                <a:solidFill>
                  <a:srgbClr val="000000"/>
                </a:solidFill>
              </a:rPr>
              <a:t> </a:t>
            </a:r>
            <a:r>
              <a:rPr lang="en-US" sz="1800" err="1">
                <a:solidFill>
                  <a:srgbClr val="000000"/>
                </a:solidFill>
              </a:rPr>
              <a:t>basado</a:t>
            </a:r>
            <a:r>
              <a:rPr lang="en-US" sz="1800">
                <a:solidFill>
                  <a:srgbClr val="000000"/>
                </a:solidFill>
              </a:rPr>
              <a:t> </a:t>
            </a:r>
            <a:r>
              <a:rPr lang="en-US" sz="1800" err="1">
                <a:solidFill>
                  <a:srgbClr val="000000"/>
                </a:solidFill>
              </a:rPr>
              <a:t>en</a:t>
            </a:r>
            <a:r>
              <a:rPr lang="en-US" sz="1800">
                <a:solidFill>
                  <a:srgbClr val="000000"/>
                </a:solidFill>
              </a:rPr>
              <a:t> mocha </a:t>
            </a:r>
            <a:r>
              <a:rPr lang="en-US" sz="1800" err="1">
                <a:solidFill>
                  <a:srgbClr val="000000"/>
                </a:solidFill>
              </a:rPr>
              <a:t>definido</a:t>
            </a:r>
            <a:r>
              <a:rPr lang="en-US" sz="1800">
                <a:solidFill>
                  <a:srgbClr val="000000"/>
                </a:solidFill>
              </a:rPr>
              <a:t> </a:t>
            </a:r>
            <a:r>
              <a:rPr lang="en-US" sz="1800" err="1">
                <a:solidFill>
                  <a:srgbClr val="000000"/>
                </a:solidFill>
              </a:rPr>
              <a:t>en</a:t>
            </a:r>
            <a:r>
              <a:rPr lang="en-US" sz="1800">
                <a:solidFill>
                  <a:srgbClr val="000000"/>
                </a:solidFill>
              </a:rPr>
              <a:t> el </a:t>
            </a:r>
            <a:r>
              <a:rPr lang="en-US" sz="1800" err="1">
                <a:solidFill>
                  <a:srgbClr val="000000"/>
                </a:solidFill>
              </a:rPr>
              <a:t>package.js</a:t>
            </a:r>
            <a:endParaRPr lang="en-US" sz="1800">
              <a:solidFill>
                <a:srgbClr val="000000"/>
              </a:solidFill>
              <a:cs typeface="Calibri"/>
            </a:endParaRPr>
          </a:p>
        </p:txBody>
      </p:sp>
      <p:sp>
        <p:nvSpPr>
          <p:cNvPr id="16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Picture 7" descr="Imagen que contiene captura de pantalla&#10;&#10;Descripción generada con confianza alta">
            <a:extLst>
              <a:ext uri="{FF2B5EF4-FFF2-40B4-BE49-F238E27FC236}">
                <a16:creationId xmlns:a16="http://schemas.microsoft.com/office/drawing/2014/main" id="{BFA03FF0-6CBB-473C-B91C-8C2AB7B411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" y="787854"/>
            <a:ext cx="6531982" cy="5541550"/>
          </a:xfrm>
          <a:prstGeom prst="rect">
            <a:avLst/>
          </a:pr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216C508B-AA3F-493F-AEB0-AF5608E2B62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8644" y="78240"/>
            <a:ext cx="495754" cy="551997"/>
          </a:xfrm>
          <a:prstGeom prst="rect">
            <a:avLst/>
          </a:prstGeom>
        </p:spPr>
      </p:pic>
      <p:pic>
        <p:nvPicPr>
          <p:cNvPr id="5" name="Picture 6" descr="Imagen que contiene texto, tarjeta de presentación&#10;&#10;Descripción generada con confianza alta">
            <a:extLst>
              <a:ext uri="{FF2B5EF4-FFF2-40B4-BE49-F238E27FC236}">
                <a16:creationId xmlns:a16="http://schemas.microsoft.com/office/drawing/2014/main" id="{6DC6ED3A-A701-4306-A7C5-783A326E5D1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1159" y="63725"/>
            <a:ext cx="493941" cy="56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641823"/>
      </p:ext>
    </p:extLst>
  </p:cSld>
  <p:clrMapOvr>
    <a:masterClrMapping/>
  </p:clrMapOvr>
  <p:transition advClick="0"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Imagen que contiene mesa, interior&#10;&#10;Descripción generada con confianza muy alta">
            <a:extLst>
              <a:ext uri="{FF2B5EF4-FFF2-40B4-BE49-F238E27FC236}">
                <a16:creationId xmlns:a16="http://schemas.microsoft.com/office/drawing/2014/main" id="{EF5E89E4-1EEF-4099-8C0E-8364EEA9C8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Freeform 5">
            <a:extLst>
              <a:ext uri="{FF2B5EF4-FFF2-40B4-BE49-F238E27FC236}">
                <a16:creationId xmlns:a16="http://schemas.microsoft.com/office/drawing/2014/main" id="{87CC2527-562A-4F69-B487-4371E5B243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White">
          <a:xfrm>
            <a:off x="7488621" y="2277613"/>
            <a:ext cx="4703379" cy="4580387"/>
          </a:xfrm>
          <a:custGeom>
            <a:avLst/>
            <a:gdLst>
              <a:gd name="T0" fmla="*/ 1333 w 1333"/>
              <a:gd name="T1" fmla="*/ 1031 h 1298"/>
              <a:gd name="T2" fmla="*/ 1333 w 1333"/>
              <a:gd name="T3" fmla="*/ 380 h 1298"/>
              <a:gd name="T4" fmla="*/ 706 w 1333"/>
              <a:gd name="T5" fmla="*/ 0 h 1298"/>
              <a:gd name="T6" fmla="*/ 0 w 1333"/>
              <a:gd name="T7" fmla="*/ 706 h 1298"/>
              <a:gd name="T8" fmla="*/ 323 w 1333"/>
              <a:gd name="T9" fmla="*/ 1298 h 1298"/>
              <a:gd name="T10" fmla="*/ 1090 w 1333"/>
              <a:gd name="T11" fmla="*/ 1298 h 1298"/>
              <a:gd name="T12" fmla="*/ 1333 w 1333"/>
              <a:gd name="T13" fmla="*/ 1031 h 1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3" h="1298">
                <a:moveTo>
                  <a:pt x="1333" y="1031"/>
                </a:moveTo>
                <a:cubicBezTo>
                  <a:pt x="1333" y="380"/>
                  <a:pt x="1333" y="380"/>
                  <a:pt x="1333" y="380"/>
                </a:cubicBezTo>
                <a:cubicBezTo>
                  <a:pt x="1215" y="154"/>
                  <a:pt x="979" y="0"/>
                  <a:pt x="706" y="0"/>
                </a:cubicBezTo>
                <a:cubicBezTo>
                  <a:pt x="317" y="0"/>
                  <a:pt x="0" y="316"/>
                  <a:pt x="0" y="706"/>
                </a:cubicBezTo>
                <a:cubicBezTo>
                  <a:pt x="0" y="954"/>
                  <a:pt x="129" y="1172"/>
                  <a:pt x="323" y="1298"/>
                </a:cubicBezTo>
                <a:cubicBezTo>
                  <a:pt x="1090" y="1298"/>
                  <a:pt x="1090" y="1298"/>
                  <a:pt x="1090" y="1298"/>
                </a:cubicBezTo>
                <a:cubicBezTo>
                  <a:pt x="1193" y="1232"/>
                  <a:pt x="1276" y="1140"/>
                  <a:pt x="1333" y="103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50800" cap="sq" cmpd="dbl">
            <a:noFill/>
            <a:miter lim="800000"/>
          </a:ln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algn="ctr">
              <a:spcAft>
                <a:spcPts val="1000"/>
              </a:spcAft>
              <a:buClr>
                <a:schemeClr val="tx1"/>
              </a:buClr>
              <a:buSzPct val="100000"/>
              <a:buFont typeface="Arial"/>
              <a:buNone/>
            </a:pPr>
            <a:endParaRPr lang="en-US" sz="1600" cap="al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99E63-CC8B-44D7-9DE7-B17EB32DC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2021" y="3231931"/>
            <a:ext cx="3852041" cy="1834056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000"/>
              <a:t>YEN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E6854D-EADD-491C-A7E1-8498573BBF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82910" y="5242675"/>
            <a:ext cx="4330262" cy="683284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Variables de entorno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CDAEC91-5BCE-4B55-9CC0-43EF94CB73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480331" y="5123793"/>
            <a:ext cx="935420" cy="0"/>
          </a:xfrm>
          <a:prstGeom prst="line">
            <a:avLst/>
          </a:prstGeom>
          <a:ln w="25400" cap="sq">
            <a:solidFill>
              <a:schemeClr val="tx1">
                <a:lumMod val="85000"/>
                <a:lumOff val="15000"/>
              </a:schemeClr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7">
            <a:extLst>
              <a:ext uri="{FF2B5EF4-FFF2-40B4-BE49-F238E27FC236}">
                <a16:creationId xmlns:a16="http://schemas.microsoft.com/office/drawing/2014/main" id="{28D3E866-012A-492F-9CC9-16BAB3F7F4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3825" y="371475"/>
            <a:ext cx="1943100" cy="133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283451"/>
      </p:ext>
    </p:extLst>
  </p:cSld>
  <p:clrMapOvr>
    <a:masterClrMapping/>
  </p:clrMapOvr>
  <p:transition advClick="0"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7E4738-1952-424E-AFE0-FD990EC30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4307" y="3006191"/>
            <a:ext cx="4805996" cy="140144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400">
                <a:solidFill>
                  <a:srgbClr val="000000"/>
                </a:solidFill>
              </a:rPr>
              <a:t>yen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3E306-05F4-4008-A7F6-169E9044F9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574611" y="2167358"/>
            <a:ext cx="4805691" cy="83883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800">
                <a:solidFill>
                  <a:srgbClr val="000000"/>
                </a:solidFill>
              </a:rPr>
              <a:t>Se implementa y utiliza yenv así como las variables definidas de manera simple</a:t>
            </a:r>
            <a:endParaRPr lang="en-US" sz="1800">
              <a:solidFill>
                <a:srgbClr val="000000"/>
              </a:solidFill>
              <a:cs typeface="Calibri"/>
            </a:endParaRPr>
          </a:p>
        </p:txBody>
      </p:sp>
      <p:sp>
        <p:nvSpPr>
          <p:cNvPr id="16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Picture 6" descr="Imagen que contiene captura de pantalla&#10;&#10;Descripción generada con confianza muy alta">
            <a:extLst>
              <a:ext uri="{FF2B5EF4-FFF2-40B4-BE49-F238E27FC236}">
                <a16:creationId xmlns:a16="http://schemas.microsoft.com/office/drawing/2014/main" id="{34FE857B-C3DE-42F1-A4E3-CE7C929D605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3727" y="1787298"/>
            <a:ext cx="5162550" cy="3600450"/>
          </a:xfrm>
          <a:prstGeom prst="rect">
            <a:avLst/>
          </a:prstGeom>
        </p:spPr>
      </p:pic>
      <p:pic>
        <p:nvPicPr>
          <p:cNvPr id="11" name="Picture 11">
            <a:extLst>
              <a:ext uri="{FF2B5EF4-FFF2-40B4-BE49-F238E27FC236}">
                <a16:creationId xmlns:a16="http://schemas.microsoft.com/office/drawing/2014/main" id="{831C65E2-FBF9-4592-916B-6FEE4E853D8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7625" y="0"/>
            <a:ext cx="666750" cy="514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99855"/>
      </p:ext>
    </p:extLst>
  </p:cSld>
  <p:clrMapOvr>
    <a:masterClrMapping/>
  </p:clrMapOvr>
  <p:transition advClick="0"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7E4738-1952-424E-AFE0-FD990EC30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1446" y="2890445"/>
            <a:ext cx="4805996" cy="140144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400">
                <a:solidFill>
                  <a:srgbClr val="000000"/>
                </a:solidFill>
              </a:rPr>
              <a:t>env.yam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43E306-05F4-4008-A7F6-169E9044F9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71750" y="2051612"/>
            <a:ext cx="4805691" cy="83883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800">
                <a:solidFill>
                  <a:srgbClr val="000000"/>
                </a:solidFill>
              </a:rPr>
              <a:t>Se definen variables de entorno estructurados por indentación (YAML), construyendo así, objetos simples y complejos.</a:t>
            </a:r>
            <a:endParaRPr lang="en-US" sz="1800">
              <a:solidFill>
                <a:srgbClr val="000000"/>
              </a:solidFill>
              <a:cs typeface="Calibri"/>
            </a:endParaRPr>
          </a:p>
        </p:txBody>
      </p:sp>
      <p:sp>
        <p:nvSpPr>
          <p:cNvPr id="16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Picture 7" descr="Imagen que contiene captura de pantalla, texto&#10;&#10;Descripción generada con confianza alta">
            <a:extLst>
              <a:ext uri="{FF2B5EF4-FFF2-40B4-BE49-F238E27FC236}">
                <a16:creationId xmlns:a16="http://schemas.microsoft.com/office/drawing/2014/main" id="{A4876341-B4AE-431B-976C-D3E81CE83F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38" y="291277"/>
            <a:ext cx="4181639" cy="6294143"/>
          </a:xfrm>
          <a:prstGeom prst="rect">
            <a:avLst/>
          </a:prstGeom>
        </p:spPr>
      </p:pic>
      <p:pic>
        <p:nvPicPr>
          <p:cNvPr id="4" name="Picture 11" descr="Imagen que contiene señal&#10;&#10;Descripción generada con confianza alta">
            <a:extLst>
              <a:ext uri="{FF2B5EF4-FFF2-40B4-BE49-F238E27FC236}">
                <a16:creationId xmlns:a16="http://schemas.microsoft.com/office/drawing/2014/main" id="{AD0836D6-97E4-461F-BFCA-1EF0BBD4C6C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7625" y="0"/>
            <a:ext cx="666750" cy="514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761816"/>
      </p:ext>
    </p:extLst>
  </p:cSld>
  <p:clrMapOvr>
    <a:masterClrMapping/>
  </p:clrMapOvr>
  <p:transition advClick="0"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1" descr="Imagen que contiene mobiliario, armario, de madera, interior&#10;&#10;Descripción generada con confianza muy alta">
            <a:extLst>
              <a:ext uri="{FF2B5EF4-FFF2-40B4-BE49-F238E27FC236}">
                <a16:creationId xmlns:a16="http://schemas.microsoft.com/office/drawing/2014/main" id="{D8BBEAEF-784F-4F84-BA32-464ED70D55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6" name="Freeform 5">
            <a:extLst>
              <a:ext uri="{FF2B5EF4-FFF2-40B4-BE49-F238E27FC236}">
                <a16:creationId xmlns:a16="http://schemas.microsoft.com/office/drawing/2014/main" id="{87CC2527-562A-4F69-B487-4371E5B243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White">
          <a:xfrm>
            <a:off x="7488621" y="2277613"/>
            <a:ext cx="4703379" cy="4580387"/>
          </a:xfrm>
          <a:custGeom>
            <a:avLst/>
            <a:gdLst>
              <a:gd name="T0" fmla="*/ 1333 w 1333"/>
              <a:gd name="T1" fmla="*/ 1031 h 1298"/>
              <a:gd name="T2" fmla="*/ 1333 w 1333"/>
              <a:gd name="T3" fmla="*/ 380 h 1298"/>
              <a:gd name="T4" fmla="*/ 706 w 1333"/>
              <a:gd name="T5" fmla="*/ 0 h 1298"/>
              <a:gd name="T6" fmla="*/ 0 w 1333"/>
              <a:gd name="T7" fmla="*/ 706 h 1298"/>
              <a:gd name="T8" fmla="*/ 323 w 1333"/>
              <a:gd name="T9" fmla="*/ 1298 h 1298"/>
              <a:gd name="T10" fmla="*/ 1090 w 1333"/>
              <a:gd name="T11" fmla="*/ 1298 h 1298"/>
              <a:gd name="T12" fmla="*/ 1333 w 1333"/>
              <a:gd name="T13" fmla="*/ 1031 h 1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3" h="1298">
                <a:moveTo>
                  <a:pt x="1333" y="1031"/>
                </a:moveTo>
                <a:cubicBezTo>
                  <a:pt x="1333" y="380"/>
                  <a:pt x="1333" y="380"/>
                  <a:pt x="1333" y="380"/>
                </a:cubicBezTo>
                <a:cubicBezTo>
                  <a:pt x="1215" y="154"/>
                  <a:pt x="979" y="0"/>
                  <a:pt x="706" y="0"/>
                </a:cubicBezTo>
                <a:cubicBezTo>
                  <a:pt x="317" y="0"/>
                  <a:pt x="0" y="316"/>
                  <a:pt x="0" y="706"/>
                </a:cubicBezTo>
                <a:cubicBezTo>
                  <a:pt x="0" y="954"/>
                  <a:pt x="129" y="1172"/>
                  <a:pt x="323" y="1298"/>
                </a:cubicBezTo>
                <a:cubicBezTo>
                  <a:pt x="1090" y="1298"/>
                  <a:pt x="1090" y="1298"/>
                  <a:pt x="1090" y="1298"/>
                </a:cubicBezTo>
                <a:cubicBezTo>
                  <a:pt x="1193" y="1232"/>
                  <a:pt x="1276" y="1140"/>
                  <a:pt x="1333" y="103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50800" cap="sq" cmpd="dbl">
            <a:noFill/>
            <a:miter lim="800000"/>
          </a:ln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algn="ctr">
              <a:spcAft>
                <a:spcPts val="1000"/>
              </a:spcAft>
              <a:buClr>
                <a:schemeClr val="tx1"/>
              </a:buClr>
              <a:buSzPct val="100000"/>
              <a:buFont typeface="Arial"/>
              <a:buNone/>
            </a:pPr>
            <a:endParaRPr lang="en-US" sz="1600" cap="al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7F4D7-F2A4-4955-85D2-852FFF8F2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2021" y="3231931"/>
            <a:ext cx="3852041" cy="1834056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000"/>
              <a:t>hapi/Jo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B55D6-C947-4743-A831-9552A17FFA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782910" y="5242675"/>
            <a:ext cx="4330262" cy="68328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ctr"/>
            <a:r>
              <a:rPr lang="en-US" sz="2000"/>
              <a:t>Framework de validación de input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AEC91-5BCE-4B55-9CC0-43EF94CB73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480331" y="5123793"/>
            <a:ext cx="935420" cy="0"/>
          </a:xfrm>
          <a:prstGeom prst="line">
            <a:avLst/>
          </a:prstGeom>
          <a:ln w="25400" cap="sq">
            <a:solidFill>
              <a:schemeClr val="tx1">
                <a:lumMod val="85000"/>
                <a:lumOff val="15000"/>
              </a:schemeClr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3">
            <a:extLst>
              <a:ext uri="{FF2B5EF4-FFF2-40B4-BE49-F238E27FC236}">
                <a16:creationId xmlns:a16="http://schemas.microsoft.com/office/drawing/2014/main" id="{53AA138A-AE77-411F-BD39-4007D79C83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880" y="161168"/>
            <a:ext cx="5796574" cy="6540771"/>
          </a:xfrm>
          <a:prstGeom prst="rect">
            <a:avLst/>
          </a:prstGeom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CE495C09-2C5C-480A-99D2-DE8F43690C2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0200" y="2352675"/>
            <a:ext cx="1704975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450599"/>
      </p:ext>
    </p:extLst>
  </p:cSld>
  <p:clrMapOvr>
    <a:masterClrMapping/>
  </p:clrMapOvr>
  <p:transition advClick="0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sym typeface="Lato"/>
              </a:rPr>
              <a:t>JOI</a:t>
            </a:r>
            <a:endParaRPr lang="es-ES"/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64;p14">
            <a:extLst>
              <a:ext uri="{FF2B5EF4-FFF2-40B4-BE49-F238E27FC236}">
                <a16:creationId xmlns:a16="http://schemas.microsoft.com/office/drawing/2014/main" id="{B99CFB41-5272-E441-B74F-EF8325FF79C8}"/>
              </a:ext>
            </a:extLst>
          </p:cNvPr>
          <p:cNvSpPr txBox="1"/>
          <p:nvPr/>
        </p:nvSpPr>
        <p:spPr>
          <a:xfrm>
            <a:off x="415636" y="1158170"/>
            <a:ext cx="11241802" cy="1993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_tradnl">
                <a:latin typeface="Lato"/>
                <a:ea typeface="Lato"/>
                <a:cs typeface="Lato"/>
              </a:rPr>
              <a:t>Middleware de validación de </a:t>
            </a:r>
            <a:r>
              <a:rPr lang="es-ES_tradnl" err="1">
                <a:latin typeface="Lato"/>
                <a:ea typeface="Lato"/>
                <a:cs typeface="Lato"/>
              </a:rPr>
              <a:t>path</a:t>
            </a:r>
            <a:r>
              <a:rPr lang="es-ES_tradnl">
                <a:latin typeface="Lato"/>
                <a:ea typeface="Lato"/>
                <a:cs typeface="Lato"/>
              </a:rPr>
              <a:t> y </a:t>
            </a:r>
            <a:r>
              <a:rPr lang="es-ES_tradnl" err="1">
                <a:latin typeface="Lato"/>
                <a:ea typeface="Lato"/>
                <a:cs typeface="Lato"/>
              </a:rPr>
              <a:t>query</a:t>
            </a:r>
            <a:r>
              <a:rPr lang="es-ES_tradnl">
                <a:latin typeface="Lato"/>
                <a:ea typeface="Lato"/>
                <a:cs typeface="Lato"/>
              </a:rPr>
              <a:t> de las entradas al API.</a:t>
            </a:r>
            <a:endParaRPr lang="es-ES"/>
          </a:p>
          <a:p>
            <a:pPr>
              <a:lnSpc>
                <a:spcPct val="150000"/>
              </a:lnSpc>
            </a:pPr>
            <a:r>
              <a:rPr lang="es-ES_tradnl">
                <a:solidFill>
                  <a:srgbClr val="000000"/>
                </a:solidFill>
                <a:latin typeface="Lato"/>
                <a:ea typeface="+mn-lt"/>
                <a:cs typeface="+mn-lt"/>
              </a:rPr>
              <a:t>Archivos de configuración en proyecto:</a:t>
            </a:r>
          </a:p>
          <a:p>
            <a:pPr>
              <a:lnSpc>
                <a:spcPct val="150000"/>
              </a:lnSpc>
            </a:pPr>
            <a:r>
              <a:rPr lang="es-ES_tradnl" b="1" err="1">
                <a:solidFill>
                  <a:srgbClr val="000000"/>
                </a:solidFill>
                <a:latin typeface="Lato"/>
                <a:ea typeface="+mn-lt"/>
                <a:cs typeface="+mn-lt"/>
              </a:rPr>
              <a:t>utils</a:t>
            </a:r>
            <a:r>
              <a:rPr lang="es-ES_tradnl" b="1">
                <a:solidFill>
                  <a:srgbClr val="000000"/>
                </a:solidFill>
                <a:latin typeface="Lato"/>
                <a:ea typeface="+mn-lt"/>
                <a:cs typeface="+mn-lt"/>
              </a:rPr>
              <a:t>/shema.js : </a:t>
            </a:r>
          </a:p>
          <a:p>
            <a:pPr>
              <a:lnSpc>
                <a:spcPct val="150000"/>
              </a:lnSpc>
            </a:pPr>
            <a:r>
              <a:rPr lang="es-ES_tradnl">
                <a:solidFill>
                  <a:srgbClr val="000000"/>
                </a:solidFill>
                <a:latin typeface="Lato"/>
                <a:ea typeface="+mn-lt"/>
                <a:cs typeface="+mn-lt"/>
              </a:rPr>
              <a:t>Archivo que contiene la configuración de validación de parámetros, como ejemplo se muestra lo siguiente.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45322725-2FC8-4934-BAAC-EB7F7F8CDB3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8089" y="3105755"/>
            <a:ext cx="4920342" cy="2002254"/>
          </a:xfrm>
          <a:prstGeom prst="rect">
            <a:avLst/>
          </a:prstGeom>
        </p:spPr>
      </p:pic>
      <p:sp>
        <p:nvSpPr>
          <p:cNvPr id="7" name="Google Shape;64;p14">
            <a:extLst>
              <a:ext uri="{FF2B5EF4-FFF2-40B4-BE49-F238E27FC236}">
                <a16:creationId xmlns:a16="http://schemas.microsoft.com/office/drawing/2014/main" id="{E6943C90-F9DE-4531-84E9-1642E654DC12}"/>
              </a:ext>
            </a:extLst>
          </p:cNvPr>
          <p:cNvSpPr txBox="1"/>
          <p:nvPr/>
        </p:nvSpPr>
        <p:spPr>
          <a:xfrm>
            <a:off x="415636" y="4572325"/>
            <a:ext cx="11241802" cy="1993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" b="1">
                <a:ea typeface="+mn-lt"/>
                <a:cs typeface="+mn-lt"/>
              </a:rPr>
              <a:t>utils</a:t>
            </a:r>
            <a:r>
              <a:rPr lang="es-ES" b="1">
                <a:solidFill>
                  <a:srgbClr val="000000"/>
                </a:solidFill>
                <a:ea typeface="+mn-lt"/>
                <a:cs typeface="+mn-lt"/>
              </a:rPr>
              <a:t>/shemaValidator.js : </a:t>
            </a:r>
            <a:endParaRPr lang="es-ES">
              <a:ea typeface="+mn-lt"/>
              <a:cs typeface="+mn-lt"/>
            </a:endParaRPr>
          </a:p>
          <a:p>
            <a:pPr>
              <a:lnSpc>
                <a:spcPct val="150000"/>
              </a:lnSpc>
            </a:pPr>
            <a:r>
              <a:rPr lang="es-ES">
                <a:solidFill>
                  <a:srgbClr val="000000"/>
                </a:solidFill>
                <a:ea typeface="+mn-lt"/>
                <a:cs typeface="+mn-lt"/>
              </a:rPr>
              <a:t>Archivo que contiene la configuración global creada en la carpeta Útil.</a:t>
            </a:r>
            <a:endParaRPr lang="es-ES">
              <a:ea typeface="+mn-lt"/>
              <a:cs typeface="+mn-lt"/>
            </a:endParaRP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6D866C21-4170-4C99-8BD2-AD542C7598C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102" y="364548"/>
            <a:ext cx="921823" cy="695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510354"/>
      </p:ext>
    </p:extLst>
  </p:cSld>
  <p:clrMapOvr>
    <a:masterClrMapping/>
  </p:clrMapOvr>
  <p:transition advClick="0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sym typeface="Lato"/>
              </a:rPr>
              <a:t>JOI</a:t>
            </a:r>
            <a:endParaRPr lang="es-ES"/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64;p14">
            <a:extLst>
              <a:ext uri="{FF2B5EF4-FFF2-40B4-BE49-F238E27FC236}">
                <a16:creationId xmlns:a16="http://schemas.microsoft.com/office/drawing/2014/main" id="{B99CFB41-5272-E441-B74F-EF8325FF79C8}"/>
              </a:ext>
            </a:extLst>
          </p:cNvPr>
          <p:cNvSpPr txBox="1"/>
          <p:nvPr/>
        </p:nvSpPr>
        <p:spPr>
          <a:xfrm>
            <a:off x="415636" y="1316508"/>
            <a:ext cx="11241802" cy="1914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_tradnl" b="1">
                <a:solidFill>
                  <a:srgbClr val="000000"/>
                </a:solidFill>
                <a:latin typeface="Lato"/>
                <a:ea typeface="+mn-lt"/>
                <a:cs typeface="+mn-lt"/>
              </a:rPr>
              <a:t>Implementación : </a:t>
            </a:r>
            <a:endParaRPr lang="es-ES"/>
          </a:p>
          <a:p>
            <a:pPr>
              <a:lnSpc>
                <a:spcPct val="150000"/>
              </a:lnSpc>
            </a:pPr>
            <a:r>
              <a:rPr lang="es-ES_tradnl">
                <a:solidFill>
                  <a:srgbClr val="000000"/>
                </a:solidFill>
                <a:latin typeface="Lato"/>
                <a:ea typeface="+mn-lt"/>
                <a:cs typeface="+mn-lt"/>
              </a:rPr>
              <a:t>La implementación se debe realizar en los archivos routes/api.js para validar sus parámetros de entrada.</a:t>
            </a:r>
          </a:p>
          <a:p>
            <a:pPr>
              <a:lnSpc>
                <a:spcPct val="150000"/>
              </a:lnSpc>
            </a:pPr>
            <a:endParaRPr lang="es-ES_tradnl">
              <a:solidFill>
                <a:srgbClr val="000000"/>
              </a:solidFill>
              <a:latin typeface="Lato"/>
              <a:ea typeface="+mn-lt"/>
              <a:cs typeface="+mn-lt"/>
            </a:endParaRPr>
          </a:p>
          <a:p>
            <a:pPr>
              <a:lnSpc>
                <a:spcPct val="150000"/>
              </a:lnSpc>
            </a:pPr>
            <a:endParaRPr lang="es-ES_tradnl" sz="2400" b="1">
              <a:solidFill>
                <a:srgbClr val="0E80C9"/>
              </a:solidFill>
              <a:latin typeface="Lato"/>
              <a:ea typeface="+mn-lt"/>
              <a:cs typeface="+mn-lt"/>
            </a:endParaRPr>
          </a:p>
        </p:txBody>
      </p:sp>
      <p:pic>
        <p:nvPicPr>
          <p:cNvPr id="7" name="Picture 7" descr="Imagen que contiene captura de pantalla&#10;&#10;Descripción generada con confianza muy alta">
            <a:extLst>
              <a:ext uri="{FF2B5EF4-FFF2-40B4-BE49-F238E27FC236}">
                <a16:creationId xmlns:a16="http://schemas.microsoft.com/office/drawing/2014/main" id="{DFA231D6-7264-40DF-8D86-9EEFF457F0D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3622" y="2575978"/>
            <a:ext cx="5296394" cy="2952952"/>
          </a:xfrm>
          <a:prstGeom prst="rect">
            <a:avLst/>
          </a:prstGeom>
        </p:spPr>
      </p:pic>
      <p:pic>
        <p:nvPicPr>
          <p:cNvPr id="2" name="Picture 3">
            <a:extLst>
              <a:ext uri="{FF2B5EF4-FFF2-40B4-BE49-F238E27FC236}">
                <a16:creationId xmlns:a16="http://schemas.microsoft.com/office/drawing/2014/main" id="{6B0208D5-31B2-4C51-BECE-3B1EF7FCC7E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102" y="364548"/>
            <a:ext cx="921823" cy="695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389054"/>
      </p:ext>
    </p:extLst>
  </p:cSld>
  <p:clrMapOvr>
    <a:masterClrMapping/>
  </p:clrMapOvr>
  <p:transition advClick="0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Imagen que contiene mesa, interior, silla, naranja&#10;&#10;Descripción generada con confianza alta">
            <a:extLst>
              <a:ext uri="{FF2B5EF4-FFF2-40B4-BE49-F238E27FC236}">
                <a16:creationId xmlns:a16="http://schemas.microsoft.com/office/drawing/2014/main" id="{31144072-CDEA-4409-AF55-E21FF015B6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0" name="Freeform 5">
            <a:extLst>
              <a:ext uri="{FF2B5EF4-FFF2-40B4-BE49-F238E27FC236}">
                <a16:creationId xmlns:a16="http://schemas.microsoft.com/office/drawing/2014/main" id="{87CC2527-562A-4F69-B487-4371E5B243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White">
          <a:xfrm>
            <a:off x="7488621" y="2277613"/>
            <a:ext cx="4703379" cy="4580387"/>
          </a:xfrm>
          <a:custGeom>
            <a:avLst/>
            <a:gdLst>
              <a:gd name="T0" fmla="*/ 1333 w 1333"/>
              <a:gd name="T1" fmla="*/ 1031 h 1298"/>
              <a:gd name="T2" fmla="*/ 1333 w 1333"/>
              <a:gd name="T3" fmla="*/ 380 h 1298"/>
              <a:gd name="T4" fmla="*/ 706 w 1333"/>
              <a:gd name="T5" fmla="*/ 0 h 1298"/>
              <a:gd name="T6" fmla="*/ 0 w 1333"/>
              <a:gd name="T7" fmla="*/ 706 h 1298"/>
              <a:gd name="T8" fmla="*/ 323 w 1333"/>
              <a:gd name="T9" fmla="*/ 1298 h 1298"/>
              <a:gd name="T10" fmla="*/ 1090 w 1333"/>
              <a:gd name="T11" fmla="*/ 1298 h 1298"/>
              <a:gd name="T12" fmla="*/ 1333 w 1333"/>
              <a:gd name="T13" fmla="*/ 1031 h 1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3" h="1298">
                <a:moveTo>
                  <a:pt x="1333" y="1031"/>
                </a:moveTo>
                <a:cubicBezTo>
                  <a:pt x="1333" y="380"/>
                  <a:pt x="1333" y="380"/>
                  <a:pt x="1333" y="380"/>
                </a:cubicBezTo>
                <a:cubicBezTo>
                  <a:pt x="1215" y="154"/>
                  <a:pt x="979" y="0"/>
                  <a:pt x="706" y="0"/>
                </a:cubicBezTo>
                <a:cubicBezTo>
                  <a:pt x="317" y="0"/>
                  <a:pt x="0" y="316"/>
                  <a:pt x="0" y="706"/>
                </a:cubicBezTo>
                <a:cubicBezTo>
                  <a:pt x="0" y="954"/>
                  <a:pt x="129" y="1172"/>
                  <a:pt x="323" y="1298"/>
                </a:cubicBezTo>
                <a:cubicBezTo>
                  <a:pt x="1090" y="1298"/>
                  <a:pt x="1090" y="1298"/>
                  <a:pt x="1090" y="1298"/>
                </a:cubicBezTo>
                <a:cubicBezTo>
                  <a:pt x="1193" y="1232"/>
                  <a:pt x="1276" y="1140"/>
                  <a:pt x="1333" y="103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50800" cap="sq" cmpd="dbl">
            <a:noFill/>
            <a:miter lim="800000"/>
          </a:ln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algn="ctr">
              <a:spcAft>
                <a:spcPts val="1000"/>
              </a:spcAft>
              <a:buClr>
                <a:schemeClr val="tx1"/>
              </a:buClr>
              <a:buSzPct val="100000"/>
              <a:buFont typeface="Arial"/>
              <a:buNone/>
            </a:pPr>
            <a:endParaRPr lang="en-US" sz="1600" cap="al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2644CD-23AF-4BB2-A778-471727B03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2021" y="3231931"/>
            <a:ext cx="3852041" cy="1834056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000"/>
              <a:t>Redi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FA0D9-8324-4DEA-A184-B67B209BEA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782910" y="5242675"/>
            <a:ext cx="4330262" cy="683284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en-US" sz="2000"/>
              <a:t>data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DAEC91-5BCE-4B55-9CC0-43EF94CB73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480331" y="5123793"/>
            <a:ext cx="935420" cy="0"/>
          </a:xfrm>
          <a:prstGeom prst="line">
            <a:avLst/>
          </a:prstGeom>
          <a:ln w="25400" cap="sq">
            <a:solidFill>
              <a:schemeClr val="tx1">
                <a:lumMod val="85000"/>
                <a:lumOff val="15000"/>
              </a:schemeClr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7">
            <a:extLst>
              <a:ext uri="{FF2B5EF4-FFF2-40B4-BE49-F238E27FC236}">
                <a16:creationId xmlns:a16="http://schemas.microsoft.com/office/drawing/2014/main" id="{C6290405-43C1-4DA8-8038-86AAC081E18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5504" y="1652478"/>
            <a:ext cx="4663654" cy="4020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698856"/>
      </p:ext>
    </p:extLst>
  </p:cSld>
  <p:clrMapOvr>
    <a:masterClrMapping/>
  </p:clrMapOvr>
  <p:transition advClick="0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sym typeface="Lato"/>
              </a:rPr>
              <a:t>REDIS</a:t>
            </a:r>
            <a:endParaRPr lang="es-ES"/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" name="Google Shape;64;p14">
            <a:extLst>
              <a:ext uri="{FF2B5EF4-FFF2-40B4-BE49-F238E27FC236}">
                <a16:creationId xmlns:a16="http://schemas.microsoft.com/office/drawing/2014/main" id="{B99CFB41-5272-E441-B74F-EF8325FF79C8}"/>
              </a:ext>
            </a:extLst>
          </p:cNvPr>
          <p:cNvSpPr txBox="1"/>
          <p:nvPr/>
        </p:nvSpPr>
        <p:spPr>
          <a:xfrm>
            <a:off x="415636" y="1682664"/>
            <a:ext cx="11241802" cy="42000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es-ES_tradnl">
                <a:latin typeface="Lato"/>
                <a:ea typeface="Lato"/>
                <a:cs typeface="Lato"/>
              </a:rPr>
              <a:t>Middleware de registro en caché.</a:t>
            </a:r>
            <a:endParaRPr lang="es-ES">
              <a:cs typeface="Calibri"/>
            </a:endParaRPr>
          </a:p>
          <a:p>
            <a:pPr>
              <a:lnSpc>
                <a:spcPct val="150000"/>
              </a:lnSpc>
            </a:pPr>
            <a:r>
              <a:rPr lang="es-ES_tradnl">
                <a:solidFill>
                  <a:srgbClr val="000000"/>
                </a:solidFill>
                <a:latin typeface="Lato"/>
                <a:ea typeface="+mn-lt"/>
                <a:cs typeface="+mn-lt"/>
              </a:rPr>
              <a:t>Archivos de configuración en proyecto:</a:t>
            </a:r>
          </a:p>
          <a:p>
            <a:pPr>
              <a:lnSpc>
                <a:spcPct val="150000"/>
              </a:lnSpc>
            </a:pPr>
            <a:endParaRPr lang="es-ES" b="1">
              <a:latin typeface="Calibri"/>
              <a:ea typeface="+mn-lt"/>
              <a:cs typeface="+mn-lt"/>
            </a:endParaRPr>
          </a:p>
          <a:p>
            <a:pPr>
              <a:lnSpc>
                <a:spcPct val="150000"/>
              </a:lnSpc>
            </a:pPr>
            <a:r>
              <a:rPr lang="es-ES" b="1" err="1">
                <a:latin typeface="Calibri"/>
                <a:ea typeface="+mn-lt"/>
                <a:cs typeface="+mn-lt"/>
              </a:rPr>
              <a:t>utils</a:t>
            </a:r>
            <a:r>
              <a:rPr lang="es-ES" b="1">
                <a:latin typeface="Calibri"/>
                <a:ea typeface="+mn-lt"/>
                <a:cs typeface="+mn-lt"/>
              </a:rPr>
              <a:t>/redis-connector</a:t>
            </a:r>
            <a:r>
              <a:rPr lang="es-ES" b="1">
                <a:solidFill>
                  <a:srgbClr val="000000"/>
                </a:solidFill>
                <a:latin typeface="Calibri"/>
                <a:ea typeface="+mn-lt"/>
                <a:cs typeface="+mn-lt"/>
              </a:rPr>
              <a:t>.js : </a:t>
            </a:r>
            <a:endParaRPr lang="es-ES">
              <a:ea typeface="+mn-lt"/>
              <a:cs typeface="+mn-lt"/>
            </a:endParaRPr>
          </a:p>
          <a:p>
            <a:pPr>
              <a:lnSpc>
                <a:spcPct val="150000"/>
              </a:lnSpc>
            </a:pPr>
            <a:r>
              <a:rPr lang="es-ES">
                <a:latin typeface="Calibri"/>
                <a:ea typeface="+mn-lt"/>
                <a:cs typeface="+mn-lt"/>
              </a:rPr>
              <a:t>Archivo que contiene el middleware </a:t>
            </a:r>
            <a:r>
              <a:rPr lang="es-ES" err="1">
                <a:latin typeface="Calibri"/>
                <a:ea typeface="+mn-lt"/>
                <a:cs typeface="+mn-lt"/>
              </a:rPr>
              <a:t>ioredis</a:t>
            </a:r>
            <a:r>
              <a:rPr lang="es-ES">
                <a:latin typeface="Calibri"/>
                <a:ea typeface="+mn-lt"/>
                <a:cs typeface="+mn-lt"/>
              </a:rPr>
              <a:t> y realiza la conexión con el repositorio del caché.</a:t>
            </a:r>
          </a:p>
          <a:p>
            <a:pPr>
              <a:lnSpc>
                <a:spcPct val="150000"/>
              </a:lnSpc>
            </a:pPr>
            <a:endParaRPr lang="es-ES">
              <a:ea typeface="+mn-lt"/>
              <a:cs typeface="+mn-lt"/>
            </a:endParaRPr>
          </a:p>
          <a:p>
            <a:pPr>
              <a:lnSpc>
                <a:spcPct val="150000"/>
              </a:lnSpc>
            </a:pPr>
            <a:r>
              <a:rPr lang="es-ES" b="1">
                <a:ea typeface="+mn-lt"/>
                <a:cs typeface="+mn-lt"/>
              </a:rPr>
              <a:t>utils/response-cache.js : </a:t>
            </a:r>
            <a:endParaRPr lang="es-ES">
              <a:ea typeface="+mn-lt"/>
              <a:cs typeface="+mn-lt"/>
            </a:endParaRPr>
          </a:p>
          <a:p>
            <a:pPr>
              <a:lnSpc>
                <a:spcPct val="150000"/>
              </a:lnSpc>
            </a:pPr>
            <a:r>
              <a:rPr lang="es-ES">
                <a:ea typeface="+mn-lt"/>
                <a:cs typeface="+mn-lt"/>
              </a:rPr>
              <a:t>Archivo que se conecta con redis-connector.js y se encarga de realizar los registros al caché y consulta si ya existe una clave conocida.</a:t>
            </a:r>
            <a:endParaRPr lang="en-US">
              <a:ea typeface="+mn-lt"/>
              <a:cs typeface="+mn-lt"/>
            </a:endParaRPr>
          </a:p>
          <a:p>
            <a:pPr>
              <a:lnSpc>
                <a:spcPct val="150000"/>
              </a:lnSpc>
            </a:pPr>
            <a:endParaRPr lang="es-ES">
              <a:ea typeface="+mn-lt"/>
              <a:cs typeface="+mn-lt"/>
            </a:endParaRPr>
          </a:p>
        </p:txBody>
      </p:sp>
      <p:pic>
        <p:nvPicPr>
          <p:cNvPr id="6" name="Picture 7" descr="Imagen que contiene kit de primeros auxilios, objeto&#10;&#10;Descripción generada con confianza alta">
            <a:extLst>
              <a:ext uri="{FF2B5EF4-FFF2-40B4-BE49-F238E27FC236}">
                <a16:creationId xmlns:a16="http://schemas.microsoft.com/office/drawing/2014/main" id="{81356848-627B-4321-B997-911994AB97C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3763" y="249568"/>
            <a:ext cx="797258" cy="807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034107"/>
      </p:ext>
    </p:extLst>
  </p:cSld>
  <p:clrMapOvr>
    <a:masterClrMapping/>
  </p:clrMapOvr>
  <p:transition advClick="0"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45"/>
          <p:cNvSpPr/>
          <p:nvPr/>
        </p:nvSpPr>
        <p:spPr>
          <a:xfrm>
            <a:off x="-167" y="0"/>
            <a:ext cx="12192000" cy="6858000"/>
          </a:xfrm>
          <a:prstGeom prst="rect">
            <a:avLst/>
          </a:prstGeom>
          <a:solidFill>
            <a:srgbClr val="282C34">
              <a:alpha val="7765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293" name="Google Shape;293;p45"/>
          <p:cNvSpPr txBox="1">
            <a:spLocks noGrp="1"/>
          </p:cNvSpPr>
          <p:nvPr>
            <p:ph type="title"/>
          </p:nvPr>
        </p:nvSpPr>
        <p:spPr>
          <a:xfrm>
            <a:off x="340400" y="2438600"/>
            <a:ext cx="5755600" cy="1980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-ES_tradnl" sz="5850" err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Plugins</a:t>
            </a:r>
            <a:r>
              <a:rPr lang="es-ES_tradnl" sz="585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 Recomendados</a:t>
            </a:r>
            <a:endParaRPr lang="es-ES_tradnl" sz="5850">
              <a:solidFill>
                <a:srgbClr val="FFFFFF"/>
              </a:solidFill>
              <a:latin typeface="Lato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841578015"/>
      </p:ext>
    </p:extLst>
  </p:cSld>
  <p:clrMapOvr>
    <a:masterClrMapping/>
  </p:clrMapOvr>
  <p:transition advClick="0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Propuesta de implementación (Visión)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1" name="Google Shape;64;p14">
            <a:extLst>
              <a:ext uri="{FF2B5EF4-FFF2-40B4-BE49-F238E27FC236}">
                <a16:creationId xmlns:a16="http://schemas.microsoft.com/office/drawing/2014/main" id="{BC4A25D9-7E73-1143-8885-0A4B2092F7BB}"/>
              </a:ext>
            </a:extLst>
          </p:cNvPr>
          <p:cNvSpPr txBox="1"/>
          <p:nvPr/>
        </p:nvSpPr>
        <p:spPr>
          <a:xfrm>
            <a:off x="7783032" y="1550879"/>
            <a:ext cx="3973367" cy="4234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Establecer la arquitectura correcta de </a:t>
            </a:r>
            <a:r>
              <a:rPr lang="es-ES_tradnl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microservicios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 (escalable, segura y que brinde información en tiempo real).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Establecer la tecnología correcta (</a:t>
            </a:r>
            <a:r>
              <a:rPr lang="es-ES_tradnl" err="1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framework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, lenguaje y plataforma)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07BDEF-4E7D-7E40-B9A2-FBB57A1CA96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200" y="1686821"/>
            <a:ext cx="6286500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492490"/>
      </p:ext>
    </p:extLst>
  </p:cSld>
  <p:clrMapOvr>
    <a:masterClrMapping/>
  </p:clrMapOvr>
  <p:transition advClick="0"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F2AFA-C34C-4A8B-A775-9E1050F5D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342" y="551712"/>
            <a:ext cx="9894133" cy="1031216"/>
          </a:xfr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>
              <a:spcBef>
                <a:spcPts val="0"/>
              </a:spcBef>
              <a:buSzPts val="2800"/>
            </a:pPr>
            <a:r>
              <a:rPr lang="en-US" b="1">
                <a:solidFill>
                  <a:srgbClr val="6627B3"/>
                </a:solidFill>
                <a:latin typeface="Lato"/>
              </a:rPr>
              <a:t>Swagger Viewer</a:t>
            </a:r>
          </a:p>
        </p:txBody>
      </p:sp>
      <p:pic>
        <p:nvPicPr>
          <p:cNvPr id="5" name="Picture 5" descr="Imagen que contiene captura de pantalla&#10;&#10;Descripción generada con confianza alta">
            <a:extLst>
              <a:ext uri="{FF2B5EF4-FFF2-40B4-BE49-F238E27FC236}">
                <a16:creationId xmlns:a16="http://schemas.microsoft.com/office/drawing/2014/main" id="{391C7A1D-7393-4F19-86F5-D6F8F34D1C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14293" y="2996588"/>
            <a:ext cx="5069382" cy="1940473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607803A-4E99-444E-94F7-8785CDDF58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flipH="1" flipV="1">
            <a:off x="780154" y="1884045"/>
            <a:ext cx="3275668" cy="2853308"/>
          </a:xfrm>
          <a:custGeom>
            <a:avLst/>
            <a:gdLst>
              <a:gd name="connsiteX0" fmla="*/ 3275668 w 3275668"/>
              <a:gd name="connsiteY0" fmla="*/ 2853308 h 2853308"/>
              <a:gd name="connsiteX1" fmla="*/ 655 w 3275668"/>
              <a:gd name="connsiteY1" fmla="*/ 2853308 h 2853308"/>
              <a:gd name="connsiteX2" fmla="*/ 0 w 3275668"/>
              <a:gd name="connsiteY2" fmla="*/ 2467565 h 2853308"/>
              <a:gd name="connsiteX3" fmla="*/ 2869894 w 3275668"/>
              <a:gd name="connsiteY3" fmla="*/ 2468888 h 2853308"/>
              <a:gd name="connsiteX4" fmla="*/ 2869894 w 3275668"/>
              <a:gd name="connsiteY4" fmla="*/ 0 h 2853308"/>
              <a:gd name="connsiteX5" fmla="*/ 3275668 w 3275668"/>
              <a:gd name="connsiteY5" fmla="*/ 0 h 2853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75668" h="2853308">
                <a:moveTo>
                  <a:pt x="3275668" y="2853308"/>
                </a:moveTo>
                <a:lnTo>
                  <a:pt x="655" y="2853308"/>
                </a:lnTo>
                <a:cubicBezTo>
                  <a:pt x="-655" y="2720171"/>
                  <a:pt x="1310" y="2600702"/>
                  <a:pt x="0" y="2467565"/>
                </a:cubicBezTo>
                <a:lnTo>
                  <a:pt x="2869894" y="2468888"/>
                </a:lnTo>
                <a:lnTo>
                  <a:pt x="2869894" y="0"/>
                </a:lnTo>
                <a:lnTo>
                  <a:pt x="3275668" y="0"/>
                </a:lnTo>
                <a:close/>
              </a:path>
            </a:pathLst>
          </a:custGeom>
          <a:solidFill>
            <a:srgbClr val="4C4C4C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2989BE6A-C309-418E-8ADD-1616A9805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55822" y="3222529"/>
            <a:ext cx="3242952" cy="2828156"/>
          </a:xfrm>
          <a:custGeom>
            <a:avLst/>
            <a:gdLst>
              <a:gd name="connsiteX0" fmla="*/ 2837178 w 3242952"/>
              <a:gd name="connsiteY0" fmla="*/ 0 h 2828156"/>
              <a:gd name="connsiteX1" fmla="*/ 3242952 w 3242952"/>
              <a:gd name="connsiteY1" fmla="*/ 0 h 2828156"/>
              <a:gd name="connsiteX2" fmla="*/ 3242952 w 3242952"/>
              <a:gd name="connsiteY2" fmla="*/ 2828156 h 2828156"/>
              <a:gd name="connsiteX3" fmla="*/ 0 w 3242952"/>
              <a:gd name="connsiteY3" fmla="*/ 2828156 h 2828156"/>
              <a:gd name="connsiteX4" fmla="*/ 0 w 3242952"/>
              <a:gd name="connsiteY4" fmla="*/ 2442859 h 2828156"/>
              <a:gd name="connsiteX5" fmla="*/ 2837178 w 3242952"/>
              <a:gd name="connsiteY5" fmla="*/ 2443295 h 2828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42952" h="2828156">
                <a:moveTo>
                  <a:pt x="2837178" y="0"/>
                </a:moveTo>
                <a:lnTo>
                  <a:pt x="3242952" y="0"/>
                </a:lnTo>
                <a:lnTo>
                  <a:pt x="3242952" y="2828156"/>
                </a:lnTo>
                <a:lnTo>
                  <a:pt x="0" y="2828156"/>
                </a:lnTo>
                <a:lnTo>
                  <a:pt x="0" y="2442859"/>
                </a:lnTo>
                <a:lnTo>
                  <a:pt x="2837178" y="2443295"/>
                </a:lnTo>
                <a:close/>
              </a:path>
            </a:pathLst>
          </a:custGeom>
          <a:solidFill>
            <a:srgbClr val="4C4C4C"/>
          </a:solidFill>
          <a:ln w="0">
            <a:noFill/>
            <a:prstDash val="solid"/>
            <a:round/>
            <a:headEnd/>
            <a:tailEnd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DB70BF-04FF-491C-BBF8-576221E97F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781373" y="2279151"/>
            <a:ext cx="3627063" cy="338714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buFont typeface="Arial" panose="020B0604020202020204" pitchFamily="34" charset="0"/>
              <a:buChar char="•"/>
            </a:pPr>
            <a:r>
              <a:rPr lang="en-US" sz="2400"/>
              <a:t>Facilita la edición del archivo .yml para previsualizar el avance en tiempo de diseño. (Tiene ligeras variaciones entre diseño y ejecución)</a:t>
            </a:r>
          </a:p>
        </p:txBody>
      </p:sp>
      <p:cxnSp>
        <p:nvCxnSpPr>
          <p:cNvPr id="3" name="Google Shape;221;p39">
            <a:extLst>
              <a:ext uri="{FF2B5EF4-FFF2-40B4-BE49-F238E27FC236}">
                <a16:creationId xmlns:a16="http://schemas.microsoft.com/office/drawing/2014/main" id="{44FE9FC2-656A-48FF-8426-74A1161DFC49}"/>
              </a:ext>
            </a:extLst>
          </p:cNvPr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227590305"/>
      </p:ext>
    </p:extLst>
  </p:cSld>
  <p:clrMapOvr>
    <a:masterClrMapping/>
  </p:clrMapOvr>
  <p:transition advClick="0"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F2AFA-C34C-4A8B-A775-9E1050F5D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767" y="494562"/>
            <a:ext cx="9894133" cy="1031216"/>
          </a:xfr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>
              <a:spcBef>
                <a:spcPts val="0"/>
              </a:spcBef>
              <a:buSzPts val="2800"/>
            </a:pPr>
            <a:r>
              <a:rPr lang="en-US" b="1">
                <a:solidFill>
                  <a:srgbClr val="6627B3"/>
                </a:solidFill>
                <a:latin typeface="Lato"/>
              </a:rPr>
              <a:t>Prettier</a:t>
            </a:r>
            <a:endParaRPr lang="es-ES" b="1">
              <a:solidFill>
                <a:srgbClr val="6627B3"/>
              </a:solidFill>
              <a:latin typeface="Lato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607803A-4E99-444E-94F7-8785CDDF58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flipH="1" flipV="1">
            <a:off x="780154" y="1884045"/>
            <a:ext cx="3275668" cy="2853308"/>
          </a:xfrm>
          <a:custGeom>
            <a:avLst/>
            <a:gdLst>
              <a:gd name="connsiteX0" fmla="*/ 3275668 w 3275668"/>
              <a:gd name="connsiteY0" fmla="*/ 2853308 h 2853308"/>
              <a:gd name="connsiteX1" fmla="*/ 655 w 3275668"/>
              <a:gd name="connsiteY1" fmla="*/ 2853308 h 2853308"/>
              <a:gd name="connsiteX2" fmla="*/ 0 w 3275668"/>
              <a:gd name="connsiteY2" fmla="*/ 2467565 h 2853308"/>
              <a:gd name="connsiteX3" fmla="*/ 2869894 w 3275668"/>
              <a:gd name="connsiteY3" fmla="*/ 2468888 h 2853308"/>
              <a:gd name="connsiteX4" fmla="*/ 2869894 w 3275668"/>
              <a:gd name="connsiteY4" fmla="*/ 0 h 2853308"/>
              <a:gd name="connsiteX5" fmla="*/ 3275668 w 3275668"/>
              <a:gd name="connsiteY5" fmla="*/ 0 h 2853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75668" h="2853308">
                <a:moveTo>
                  <a:pt x="3275668" y="2853308"/>
                </a:moveTo>
                <a:lnTo>
                  <a:pt x="655" y="2853308"/>
                </a:lnTo>
                <a:cubicBezTo>
                  <a:pt x="-655" y="2720171"/>
                  <a:pt x="1310" y="2600702"/>
                  <a:pt x="0" y="2467565"/>
                </a:cubicBezTo>
                <a:lnTo>
                  <a:pt x="2869894" y="2468888"/>
                </a:lnTo>
                <a:lnTo>
                  <a:pt x="2869894" y="0"/>
                </a:lnTo>
                <a:lnTo>
                  <a:pt x="3275668" y="0"/>
                </a:lnTo>
                <a:close/>
              </a:path>
            </a:pathLst>
          </a:custGeom>
          <a:solidFill>
            <a:srgbClr val="4C4C4C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2989BE6A-C309-418E-8ADD-1616A9805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55822" y="3222529"/>
            <a:ext cx="3242952" cy="2828156"/>
          </a:xfrm>
          <a:custGeom>
            <a:avLst/>
            <a:gdLst>
              <a:gd name="connsiteX0" fmla="*/ 2837178 w 3242952"/>
              <a:gd name="connsiteY0" fmla="*/ 0 h 2828156"/>
              <a:gd name="connsiteX1" fmla="*/ 3242952 w 3242952"/>
              <a:gd name="connsiteY1" fmla="*/ 0 h 2828156"/>
              <a:gd name="connsiteX2" fmla="*/ 3242952 w 3242952"/>
              <a:gd name="connsiteY2" fmla="*/ 2828156 h 2828156"/>
              <a:gd name="connsiteX3" fmla="*/ 0 w 3242952"/>
              <a:gd name="connsiteY3" fmla="*/ 2828156 h 2828156"/>
              <a:gd name="connsiteX4" fmla="*/ 0 w 3242952"/>
              <a:gd name="connsiteY4" fmla="*/ 2442859 h 2828156"/>
              <a:gd name="connsiteX5" fmla="*/ 2837178 w 3242952"/>
              <a:gd name="connsiteY5" fmla="*/ 2443295 h 2828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42952" h="2828156">
                <a:moveTo>
                  <a:pt x="2837178" y="0"/>
                </a:moveTo>
                <a:lnTo>
                  <a:pt x="3242952" y="0"/>
                </a:lnTo>
                <a:lnTo>
                  <a:pt x="3242952" y="2828156"/>
                </a:lnTo>
                <a:lnTo>
                  <a:pt x="0" y="2828156"/>
                </a:lnTo>
                <a:lnTo>
                  <a:pt x="0" y="2442859"/>
                </a:lnTo>
                <a:lnTo>
                  <a:pt x="2837178" y="2443295"/>
                </a:lnTo>
                <a:close/>
              </a:path>
            </a:pathLst>
          </a:custGeom>
          <a:solidFill>
            <a:srgbClr val="4C4C4C"/>
          </a:solidFill>
          <a:ln w="0">
            <a:noFill/>
            <a:prstDash val="solid"/>
            <a:round/>
            <a:headEnd/>
            <a:tailEnd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DB70BF-04FF-491C-BBF8-576221E97F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781373" y="2279151"/>
            <a:ext cx="3627063" cy="338714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114300" indent="-342900">
              <a:buFont typeface="Arial" panose="020B0604020202020204" pitchFamily="34" charset="0"/>
              <a:buChar char="•"/>
            </a:pPr>
            <a:r>
              <a:rPr lang="en-US" sz="2400" err="1">
                <a:ea typeface="+mn-lt"/>
                <a:cs typeface="+mn-lt"/>
              </a:rPr>
              <a:t>Formatea</a:t>
            </a:r>
            <a:r>
              <a:rPr lang="en-US" sz="2400">
                <a:ea typeface="+mn-lt"/>
                <a:cs typeface="+mn-lt"/>
              </a:rPr>
              <a:t> el </a:t>
            </a:r>
            <a:r>
              <a:rPr lang="en-US" sz="2400" err="1">
                <a:ea typeface="+mn-lt"/>
                <a:cs typeface="+mn-lt"/>
              </a:rPr>
              <a:t>documento</a:t>
            </a:r>
            <a:r>
              <a:rPr lang="en-US" sz="2400">
                <a:ea typeface="+mn-lt"/>
                <a:cs typeface="+mn-lt"/>
              </a:rPr>
              <a:t> para ser </a:t>
            </a:r>
            <a:r>
              <a:rPr lang="en-US" sz="2400" err="1">
                <a:ea typeface="+mn-lt"/>
                <a:cs typeface="+mn-lt"/>
              </a:rPr>
              <a:t>compilado</a:t>
            </a:r>
            <a:r>
              <a:rPr lang="en-US" sz="2400">
                <a:ea typeface="+mn-lt"/>
                <a:cs typeface="+mn-lt"/>
              </a:rPr>
              <a:t> sin </a:t>
            </a:r>
            <a:r>
              <a:rPr lang="en-US" sz="2400" err="1">
                <a:ea typeface="+mn-lt"/>
                <a:cs typeface="+mn-lt"/>
              </a:rPr>
              <a:t>dificultades</a:t>
            </a:r>
            <a:r>
              <a:rPr lang="en-US" sz="2400">
                <a:ea typeface="+mn-lt"/>
                <a:cs typeface="+mn-lt"/>
              </a:rPr>
              <a:t> </a:t>
            </a:r>
            <a:r>
              <a:rPr lang="en-US" sz="2400" err="1">
                <a:ea typeface="+mn-lt"/>
                <a:cs typeface="+mn-lt"/>
              </a:rPr>
              <a:t>cumpliendo</a:t>
            </a:r>
            <a:r>
              <a:rPr lang="en-US" sz="2400">
                <a:ea typeface="+mn-lt"/>
                <a:cs typeface="+mn-lt"/>
              </a:rPr>
              <a:t> las </a:t>
            </a:r>
            <a:r>
              <a:rPr lang="en-US" sz="2400" err="1">
                <a:ea typeface="+mn-lt"/>
                <a:cs typeface="+mn-lt"/>
              </a:rPr>
              <a:t>restricciones</a:t>
            </a:r>
            <a:r>
              <a:rPr lang="en-US" sz="2400">
                <a:ea typeface="+mn-lt"/>
                <a:cs typeface="+mn-lt"/>
              </a:rPr>
              <a:t> (</a:t>
            </a:r>
            <a:r>
              <a:rPr lang="en-US" sz="2400" err="1">
                <a:ea typeface="+mn-lt"/>
                <a:cs typeface="+mn-lt"/>
              </a:rPr>
              <a:t>Alt+Shift+F</a:t>
            </a:r>
            <a:r>
              <a:rPr lang="en-US" sz="2400">
                <a:ea typeface="+mn-lt"/>
                <a:cs typeface="+mn-lt"/>
              </a:rPr>
              <a:t>)</a:t>
            </a:r>
          </a:p>
          <a:p>
            <a:pPr indent="-228600">
              <a:buFont typeface="Arial" panose="020B0604020202020204" pitchFamily="34" charset="0"/>
              <a:buChar char="•"/>
            </a:pPr>
            <a:endParaRPr lang="en-US" sz="2400">
              <a:cs typeface="Calibri"/>
            </a:endParaRPr>
          </a:p>
        </p:txBody>
      </p:sp>
      <p:pic>
        <p:nvPicPr>
          <p:cNvPr id="19" name="Picture 19" descr="Imagen que contiene captura de pantalla&#10;&#10;Descripción generada con confianza muy alta">
            <a:extLst>
              <a:ext uri="{FF2B5EF4-FFF2-40B4-BE49-F238E27FC236}">
                <a16:creationId xmlns:a16="http://schemas.microsoft.com/office/drawing/2014/main" id="{79311070-CD09-486A-8F9C-C73D4FE3F52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1300" y="2930751"/>
            <a:ext cx="5133975" cy="1676400"/>
          </a:xfrm>
          <a:prstGeom prst="rect">
            <a:avLst/>
          </a:prstGeom>
        </p:spPr>
      </p:pic>
      <p:cxnSp>
        <p:nvCxnSpPr>
          <p:cNvPr id="3" name="Google Shape;221;p39">
            <a:extLst>
              <a:ext uri="{FF2B5EF4-FFF2-40B4-BE49-F238E27FC236}">
                <a16:creationId xmlns:a16="http://schemas.microsoft.com/office/drawing/2014/main" id="{E7A2FD89-2863-4126-A8BC-86BAB26B65EF}"/>
              </a:ext>
            </a:extLst>
          </p:cNvPr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984080809"/>
      </p:ext>
    </p:extLst>
  </p:cSld>
  <p:clrMapOvr>
    <a:masterClrMapping/>
  </p:clrMapOvr>
  <p:transition advClick="0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F2AFA-C34C-4A8B-A775-9E1050F5D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767" y="504087"/>
            <a:ext cx="9894133" cy="1031216"/>
          </a:xfr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>
              <a:spcBef>
                <a:spcPts val="0"/>
              </a:spcBef>
              <a:buSzPts val="2800"/>
            </a:pPr>
            <a:r>
              <a:rPr lang="en-US" b="1">
                <a:solidFill>
                  <a:srgbClr val="6627B3"/>
                </a:solidFill>
                <a:latin typeface="Lato"/>
              </a:rPr>
              <a:t>YAML</a:t>
            </a:r>
            <a:endParaRPr lang="es-ES" b="1">
              <a:solidFill>
                <a:srgbClr val="6627B3"/>
              </a:solidFill>
              <a:latin typeface="Lato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607803A-4E99-444E-94F7-8785CDDF58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flipH="1" flipV="1">
            <a:off x="780154" y="1884045"/>
            <a:ext cx="3275668" cy="2853308"/>
          </a:xfrm>
          <a:custGeom>
            <a:avLst/>
            <a:gdLst>
              <a:gd name="connsiteX0" fmla="*/ 3275668 w 3275668"/>
              <a:gd name="connsiteY0" fmla="*/ 2853308 h 2853308"/>
              <a:gd name="connsiteX1" fmla="*/ 655 w 3275668"/>
              <a:gd name="connsiteY1" fmla="*/ 2853308 h 2853308"/>
              <a:gd name="connsiteX2" fmla="*/ 0 w 3275668"/>
              <a:gd name="connsiteY2" fmla="*/ 2467565 h 2853308"/>
              <a:gd name="connsiteX3" fmla="*/ 2869894 w 3275668"/>
              <a:gd name="connsiteY3" fmla="*/ 2468888 h 2853308"/>
              <a:gd name="connsiteX4" fmla="*/ 2869894 w 3275668"/>
              <a:gd name="connsiteY4" fmla="*/ 0 h 2853308"/>
              <a:gd name="connsiteX5" fmla="*/ 3275668 w 3275668"/>
              <a:gd name="connsiteY5" fmla="*/ 0 h 2853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75668" h="2853308">
                <a:moveTo>
                  <a:pt x="3275668" y="2853308"/>
                </a:moveTo>
                <a:lnTo>
                  <a:pt x="655" y="2853308"/>
                </a:lnTo>
                <a:cubicBezTo>
                  <a:pt x="-655" y="2720171"/>
                  <a:pt x="1310" y="2600702"/>
                  <a:pt x="0" y="2467565"/>
                </a:cubicBezTo>
                <a:lnTo>
                  <a:pt x="2869894" y="2468888"/>
                </a:lnTo>
                <a:lnTo>
                  <a:pt x="2869894" y="0"/>
                </a:lnTo>
                <a:lnTo>
                  <a:pt x="3275668" y="0"/>
                </a:lnTo>
                <a:close/>
              </a:path>
            </a:pathLst>
          </a:custGeom>
          <a:solidFill>
            <a:srgbClr val="4C4C4C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2989BE6A-C309-418E-8ADD-1616A9805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55822" y="3222529"/>
            <a:ext cx="3242952" cy="2828156"/>
          </a:xfrm>
          <a:custGeom>
            <a:avLst/>
            <a:gdLst>
              <a:gd name="connsiteX0" fmla="*/ 2837178 w 3242952"/>
              <a:gd name="connsiteY0" fmla="*/ 0 h 2828156"/>
              <a:gd name="connsiteX1" fmla="*/ 3242952 w 3242952"/>
              <a:gd name="connsiteY1" fmla="*/ 0 h 2828156"/>
              <a:gd name="connsiteX2" fmla="*/ 3242952 w 3242952"/>
              <a:gd name="connsiteY2" fmla="*/ 2828156 h 2828156"/>
              <a:gd name="connsiteX3" fmla="*/ 0 w 3242952"/>
              <a:gd name="connsiteY3" fmla="*/ 2828156 h 2828156"/>
              <a:gd name="connsiteX4" fmla="*/ 0 w 3242952"/>
              <a:gd name="connsiteY4" fmla="*/ 2442859 h 2828156"/>
              <a:gd name="connsiteX5" fmla="*/ 2837178 w 3242952"/>
              <a:gd name="connsiteY5" fmla="*/ 2443295 h 2828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42952" h="2828156">
                <a:moveTo>
                  <a:pt x="2837178" y="0"/>
                </a:moveTo>
                <a:lnTo>
                  <a:pt x="3242952" y="0"/>
                </a:lnTo>
                <a:lnTo>
                  <a:pt x="3242952" y="2828156"/>
                </a:lnTo>
                <a:lnTo>
                  <a:pt x="0" y="2828156"/>
                </a:lnTo>
                <a:lnTo>
                  <a:pt x="0" y="2442859"/>
                </a:lnTo>
                <a:lnTo>
                  <a:pt x="2837178" y="2443295"/>
                </a:lnTo>
                <a:close/>
              </a:path>
            </a:pathLst>
          </a:custGeom>
          <a:solidFill>
            <a:srgbClr val="4C4C4C"/>
          </a:solidFill>
          <a:ln w="0">
            <a:noFill/>
            <a:prstDash val="solid"/>
            <a:round/>
            <a:headEnd/>
            <a:tailEnd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DB70BF-04FF-491C-BBF8-576221E97F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781373" y="2279151"/>
            <a:ext cx="3627063" cy="338714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114300" indent="-342900">
              <a:buFont typeface="Arial" panose="020B0604020202020204" pitchFamily="34" charset="0"/>
              <a:buChar char="•"/>
            </a:pPr>
            <a:r>
              <a:rPr lang="en-US" sz="2400">
                <a:ea typeface="+mn-lt"/>
                <a:cs typeface="+mn-lt"/>
              </a:rPr>
              <a:t>Permite </a:t>
            </a:r>
            <a:r>
              <a:rPr lang="en-US" sz="2400" err="1">
                <a:ea typeface="+mn-lt"/>
                <a:cs typeface="+mn-lt"/>
              </a:rPr>
              <a:t>tener</a:t>
            </a:r>
            <a:r>
              <a:rPr lang="en-US" sz="2400">
                <a:ea typeface="+mn-lt"/>
                <a:cs typeface="+mn-lt"/>
              </a:rPr>
              <a:t> </a:t>
            </a:r>
            <a:r>
              <a:rPr lang="en-US" sz="2400" err="1">
                <a:ea typeface="+mn-lt"/>
                <a:cs typeface="+mn-lt"/>
              </a:rPr>
              <a:t>apoyo</a:t>
            </a:r>
            <a:r>
              <a:rPr lang="en-US" sz="2400">
                <a:ea typeface="+mn-lt"/>
                <a:cs typeface="+mn-lt"/>
              </a:rPr>
              <a:t> visual y auto </a:t>
            </a:r>
            <a:r>
              <a:rPr lang="en-US" sz="2400" err="1">
                <a:ea typeface="+mn-lt"/>
                <a:cs typeface="+mn-lt"/>
              </a:rPr>
              <a:t>completado</a:t>
            </a:r>
            <a:r>
              <a:rPr lang="en-US" sz="2400">
                <a:ea typeface="+mn-lt"/>
                <a:cs typeface="+mn-lt"/>
              </a:rPr>
              <a:t> para los </a:t>
            </a:r>
            <a:r>
              <a:rPr lang="en-US" sz="2400" err="1">
                <a:ea typeface="+mn-lt"/>
                <a:cs typeface="+mn-lt"/>
              </a:rPr>
              <a:t>archivo</a:t>
            </a:r>
            <a:r>
              <a:rPr lang="en-US" sz="2400">
                <a:ea typeface="+mn-lt"/>
                <a:cs typeface="+mn-lt"/>
              </a:rPr>
              <a:t> .</a:t>
            </a:r>
            <a:r>
              <a:rPr lang="en-US" sz="2400" err="1">
                <a:ea typeface="+mn-lt"/>
                <a:cs typeface="+mn-lt"/>
              </a:rPr>
              <a:t>yml</a:t>
            </a:r>
          </a:p>
          <a:p>
            <a:pPr indent="-228600">
              <a:buFont typeface="Arial" panose="020B0604020202020204" pitchFamily="34" charset="0"/>
              <a:buChar char="•"/>
            </a:pPr>
            <a:endParaRPr lang="en-US" sz="2400">
              <a:cs typeface="Calibri"/>
            </a:endParaRPr>
          </a:p>
        </p:txBody>
      </p:sp>
      <p:pic>
        <p:nvPicPr>
          <p:cNvPr id="3" name="Picture 6" descr="Imagen que contiene captura de pantalla&#10;&#10;Descripción generada con confianza muy alta">
            <a:extLst>
              <a:ext uri="{FF2B5EF4-FFF2-40B4-BE49-F238E27FC236}">
                <a16:creationId xmlns:a16="http://schemas.microsoft.com/office/drawing/2014/main" id="{F78FD069-DBE1-4560-8788-AFDAF0E52D0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3476" y="2983893"/>
            <a:ext cx="4696464" cy="1978802"/>
          </a:xfrm>
          <a:prstGeom prst="rect">
            <a:avLst/>
          </a:prstGeom>
        </p:spPr>
      </p:pic>
      <p:cxnSp>
        <p:nvCxnSpPr>
          <p:cNvPr id="5" name="Google Shape;221;p39">
            <a:extLst>
              <a:ext uri="{FF2B5EF4-FFF2-40B4-BE49-F238E27FC236}">
                <a16:creationId xmlns:a16="http://schemas.microsoft.com/office/drawing/2014/main" id="{99E53194-63B7-40B2-A1DF-5557FB6967BF}"/>
              </a:ext>
            </a:extLst>
          </p:cNvPr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42397142"/>
      </p:ext>
    </p:extLst>
  </p:cSld>
  <p:clrMapOvr>
    <a:masterClrMapping/>
  </p:clrMapOvr>
  <p:transition advClick="0"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Referencias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" name="Google Shape;64;p14">
            <a:extLst>
              <a:ext uri="{FF2B5EF4-FFF2-40B4-BE49-F238E27FC236}">
                <a16:creationId xmlns:a16="http://schemas.microsoft.com/office/drawing/2014/main" id="{4E79FEA6-13EA-B34F-BE13-8A11D00CB16B}"/>
              </a:ext>
            </a:extLst>
          </p:cNvPr>
          <p:cNvSpPr txBox="1"/>
          <p:nvPr/>
        </p:nvSpPr>
        <p:spPr>
          <a:xfrm>
            <a:off x="480000" y="1810693"/>
            <a:ext cx="11276400" cy="39744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NodeJS Performance</a:t>
            </a:r>
            <a:b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  <a:hlinkClick r:id="rId3"/>
              </a:rPr>
              <a:t>https://raygun.com/blog/nodejs-vs-hapi-express-restify-koa/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No use Express para su REST API</a:t>
            </a:r>
            <a:b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  <a:hlinkClick r:id="rId4"/>
              </a:rPr>
              <a:t>https://medium.com/car2godevs/there-are-expressjs-alternatives-590d14c58c1c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Frameworks especializados para la construcción de Micro Servicios</a:t>
            </a:r>
            <a:b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  <a:hlinkClick r:id="rId5"/>
              </a:rPr>
              <a:t>https://moleculer.services/</a:t>
            </a: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b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s-ES_tradnl">
                <a:solidFill>
                  <a:srgbClr val="445469"/>
                </a:solidFill>
                <a:latin typeface="Lato"/>
                <a:ea typeface="Lato"/>
                <a:cs typeface="Lato"/>
                <a:sym typeface="Lato"/>
                <a:hlinkClick r:id="rId6"/>
              </a:rPr>
              <a:t>http://senecajs.org/</a:t>
            </a:r>
            <a:endParaRPr lang="es-ES_tradnl">
              <a:solidFill>
                <a:srgbClr val="445469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179085462"/>
      </p:ext>
    </p:extLst>
  </p:cSld>
  <p:clrMapOvr>
    <a:masterClrMapping/>
  </p:clrMapOvr>
  <p:transition advClick="0"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4" name="Picture 1" descr="fondo.psd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0163"/>
            <a:ext cx="12192000" cy="688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955" name="Picture 1" descr="logos belcorp.ai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728" t="29353" r="30791" b="37650"/>
          <a:stretch>
            <a:fillRect/>
          </a:stretch>
        </p:blipFill>
        <p:spPr bwMode="auto">
          <a:xfrm>
            <a:off x="4656139" y="1793875"/>
            <a:ext cx="3095625" cy="307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377728"/>
      </p:ext>
    </p:extLst>
  </p:cSld>
  <p:clrMapOvr>
    <a:masterClrMapping/>
  </p:clrMapOvr>
  <p:transition advClick="0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45"/>
          <p:cNvSpPr/>
          <p:nvPr/>
        </p:nvSpPr>
        <p:spPr>
          <a:xfrm>
            <a:off x="-167" y="0"/>
            <a:ext cx="12192000" cy="6858000"/>
          </a:xfrm>
          <a:prstGeom prst="rect">
            <a:avLst/>
          </a:prstGeom>
          <a:solidFill>
            <a:srgbClr val="282C34">
              <a:alpha val="7765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293" name="Google Shape;293;p45"/>
          <p:cNvSpPr txBox="1">
            <a:spLocks noGrp="1"/>
          </p:cNvSpPr>
          <p:nvPr>
            <p:ph type="title"/>
          </p:nvPr>
        </p:nvSpPr>
        <p:spPr>
          <a:xfrm>
            <a:off x="340233" y="2159743"/>
            <a:ext cx="5755600" cy="253851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s-ES_tradnl" sz="5867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Estándares de microservicios </a:t>
            </a:r>
          </a:p>
        </p:txBody>
      </p:sp>
    </p:spTree>
    <p:extLst>
      <p:ext uri="{BB962C8B-B14F-4D97-AF65-F5344CB8AC3E}">
        <p14:creationId xmlns:p14="http://schemas.microsoft.com/office/powerpoint/2010/main" val="2470684190"/>
      </p:ext>
    </p:extLst>
  </p:cSld>
  <p:clrMapOvr>
    <a:masterClrMapping/>
  </p:clrMapOvr>
  <p:transition advClick="0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4D6B14D-9C27-C64E-A153-3ED07E3E481E}"/>
              </a:ext>
            </a:extLst>
          </p:cNvPr>
          <p:cNvSpPr txBox="1"/>
          <p:nvPr/>
        </p:nvSpPr>
        <p:spPr>
          <a:xfrm>
            <a:off x="1904961" y="1154253"/>
            <a:ext cx="783132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s-ES_tradnl" sz="2400">
                <a:solidFill>
                  <a:srgbClr val="843A86"/>
                </a:solidFill>
                <a:latin typeface="Museo Sans 300"/>
              </a:rPr>
              <a:t>api.belcorp.biz/</a:t>
            </a:r>
            <a:r>
              <a:rPr lang="es-ES_tradnl" sz="2400" err="1">
                <a:solidFill>
                  <a:srgbClr val="843A86"/>
                </a:solidFill>
                <a:latin typeface="Museo Sans 300"/>
              </a:rPr>
              <a:t>products</a:t>
            </a:r>
            <a:r>
              <a:rPr lang="es-ES_tradnl" sz="2400">
                <a:solidFill>
                  <a:srgbClr val="843A86"/>
                </a:solidFill>
                <a:latin typeface="Museo Sans 300"/>
              </a:rPr>
              <a:t>/</a:t>
            </a:r>
            <a:r>
              <a:rPr lang="es-ES_tradnl" sz="2400" err="1">
                <a:solidFill>
                  <a:srgbClr val="843A86"/>
                </a:solidFill>
                <a:latin typeface="Museo Sans 300"/>
              </a:rPr>
              <a:t>countries?sort</a:t>
            </a:r>
            <a:r>
              <a:rPr lang="es-ES_tradnl" sz="2400">
                <a:solidFill>
                  <a:srgbClr val="843A86"/>
                </a:solidFill>
                <a:latin typeface="Museo Sans 300"/>
              </a:rPr>
              <a:t>=</a:t>
            </a:r>
            <a:r>
              <a:rPr lang="es-ES_tradnl" sz="2400" err="1">
                <a:solidFill>
                  <a:srgbClr val="843A86"/>
                </a:solidFill>
                <a:latin typeface="Museo Sans 300"/>
              </a:rPr>
              <a:t>asc&amp;page</a:t>
            </a:r>
            <a:r>
              <a:rPr lang="es-ES_tradnl" sz="2400">
                <a:solidFill>
                  <a:srgbClr val="843A86"/>
                </a:solidFill>
                <a:latin typeface="Museo Sans 300"/>
              </a:rPr>
              <a:t>=1</a:t>
            </a:r>
          </a:p>
        </p:txBody>
      </p:sp>
      <p:sp>
        <p:nvSpPr>
          <p:cNvPr id="15" name="Oval 52">
            <a:extLst>
              <a:ext uri="{FF2B5EF4-FFF2-40B4-BE49-F238E27FC236}">
                <a16:creationId xmlns:a16="http://schemas.microsoft.com/office/drawing/2014/main" id="{F25763E3-916B-E043-A823-03006C04EA37}"/>
              </a:ext>
            </a:extLst>
          </p:cNvPr>
          <p:cNvSpPr>
            <a:spLocks noChangeAspect="1"/>
          </p:cNvSpPr>
          <p:nvPr/>
        </p:nvSpPr>
        <p:spPr>
          <a:xfrm>
            <a:off x="2821321" y="1646695"/>
            <a:ext cx="336000" cy="336000"/>
          </a:xfrm>
          <a:prstGeom prst="ellipse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>
                <a:latin typeface="Museo Sans 500" panose="02000000000000000000" pitchFamily="2" charset="77"/>
              </a:rPr>
              <a:t>1</a:t>
            </a:r>
          </a:p>
        </p:txBody>
      </p:sp>
      <p:sp>
        <p:nvSpPr>
          <p:cNvPr id="16" name="Oval 52">
            <a:extLst>
              <a:ext uri="{FF2B5EF4-FFF2-40B4-BE49-F238E27FC236}">
                <a16:creationId xmlns:a16="http://schemas.microsoft.com/office/drawing/2014/main" id="{BAB1482B-ABD9-554F-A1A9-254CFE73F58A}"/>
              </a:ext>
            </a:extLst>
          </p:cNvPr>
          <p:cNvSpPr>
            <a:spLocks noChangeAspect="1"/>
          </p:cNvSpPr>
          <p:nvPr/>
        </p:nvSpPr>
        <p:spPr>
          <a:xfrm>
            <a:off x="4688817" y="1646695"/>
            <a:ext cx="336000" cy="336000"/>
          </a:xfrm>
          <a:prstGeom prst="ellipse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>
                <a:latin typeface="Museo Sans 500" panose="02000000000000000000" pitchFamily="2" charset="77"/>
              </a:rPr>
              <a:t>2</a:t>
            </a:r>
          </a:p>
        </p:txBody>
      </p:sp>
      <p:sp>
        <p:nvSpPr>
          <p:cNvPr id="33" name="Oval 52">
            <a:extLst>
              <a:ext uri="{FF2B5EF4-FFF2-40B4-BE49-F238E27FC236}">
                <a16:creationId xmlns:a16="http://schemas.microsoft.com/office/drawing/2014/main" id="{D45E5BAF-329D-D843-8E64-1B4E229672F3}"/>
              </a:ext>
            </a:extLst>
          </p:cNvPr>
          <p:cNvSpPr>
            <a:spLocks noChangeAspect="1"/>
          </p:cNvSpPr>
          <p:nvPr/>
        </p:nvSpPr>
        <p:spPr>
          <a:xfrm>
            <a:off x="6149127" y="1640593"/>
            <a:ext cx="336000" cy="336000"/>
          </a:xfrm>
          <a:prstGeom prst="ellipse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>
                <a:latin typeface="Museo Sans 500" panose="02000000000000000000" pitchFamily="2" charset="77"/>
              </a:rPr>
              <a:t>3</a:t>
            </a:r>
          </a:p>
        </p:txBody>
      </p:sp>
      <p:cxnSp>
        <p:nvCxnSpPr>
          <p:cNvPr id="35" name="Straight Connector 8">
            <a:extLst>
              <a:ext uri="{FF2B5EF4-FFF2-40B4-BE49-F238E27FC236}">
                <a16:creationId xmlns:a16="http://schemas.microsoft.com/office/drawing/2014/main" id="{EAB697DC-6C72-3447-8D75-0E0CA3F7735C}"/>
              </a:ext>
            </a:extLst>
          </p:cNvPr>
          <p:cNvCxnSpPr/>
          <p:nvPr/>
        </p:nvCxnSpPr>
        <p:spPr>
          <a:xfrm>
            <a:off x="1780407" y="1138927"/>
            <a:ext cx="0" cy="1008000"/>
          </a:xfrm>
          <a:prstGeom prst="line">
            <a:avLst/>
          </a:prstGeom>
          <a:ln>
            <a:solidFill>
              <a:srgbClr val="843A86">
                <a:alpha val="2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8">
            <a:extLst>
              <a:ext uri="{FF2B5EF4-FFF2-40B4-BE49-F238E27FC236}">
                <a16:creationId xmlns:a16="http://schemas.microsoft.com/office/drawing/2014/main" id="{144D4AB4-126B-F349-AFE9-977082CD56E7}"/>
              </a:ext>
            </a:extLst>
          </p:cNvPr>
          <p:cNvCxnSpPr/>
          <p:nvPr/>
        </p:nvCxnSpPr>
        <p:spPr>
          <a:xfrm>
            <a:off x="4162355" y="1129781"/>
            <a:ext cx="0" cy="1008000"/>
          </a:xfrm>
          <a:prstGeom prst="line">
            <a:avLst/>
          </a:prstGeom>
          <a:ln w="9525">
            <a:solidFill>
              <a:srgbClr val="843A86">
                <a:alpha val="2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8">
            <a:extLst>
              <a:ext uri="{FF2B5EF4-FFF2-40B4-BE49-F238E27FC236}">
                <a16:creationId xmlns:a16="http://schemas.microsoft.com/office/drawing/2014/main" id="{F3B48914-0B8A-6C49-A30D-D89A826D4EF8}"/>
              </a:ext>
            </a:extLst>
          </p:cNvPr>
          <p:cNvCxnSpPr/>
          <p:nvPr/>
        </p:nvCxnSpPr>
        <p:spPr>
          <a:xfrm>
            <a:off x="5551279" y="1139344"/>
            <a:ext cx="0" cy="1008000"/>
          </a:xfrm>
          <a:prstGeom prst="line">
            <a:avLst/>
          </a:prstGeom>
          <a:ln w="9525">
            <a:solidFill>
              <a:srgbClr val="843A86">
                <a:alpha val="2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42">
            <a:extLst>
              <a:ext uri="{FF2B5EF4-FFF2-40B4-BE49-F238E27FC236}">
                <a16:creationId xmlns:a16="http://schemas.microsoft.com/office/drawing/2014/main" id="{32CB9A63-FD37-8445-AF90-D664F5ECE5B4}"/>
              </a:ext>
            </a:extLst>
          </p:cNvPr>
          <p:cNvSpPr/>
          <p:nvPr/>
        </p:nvSpPr>
        <p:spPr>
          <a:xfrm>
            <a:off x="1780287" y="2099979"/>
            <a:ext cx="7992000" cy="65943"/>
          </a:xfrm>
          <a:prstGeom prst="rect">
            <a:avLst/>
          </a:prstGeom>
          <a:solidFill>
            <a:srgbClr val="843A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>
              <a:latin typeface="Museo Sans 500" panose="02000000000000000000" pitchFamily="2" charset="77"/>
            </a:endParaRPr>
          </a:p>
        </p:txBody>
      </p:sp>
      <p:cxnSp>
        <p:nvCxnSpPr>
          <p:cNvPr id="40" name="Straight Connector 8">
            <a:extLst>
              <a:ext uri="{FF2B5EF4-FFF2-40B4-BE49-F238E27FC236}">
                <a16:creationId xmlns:a16="http://schemas.microsoft.com/office/drawing/2014/main" id="{12274A29-E4EE-0743-818A-F0E99D8C6B07}"/>
              </a:ext>
            </a:extLst>
          </p:cNvPr>
          <p:cNvCxnSpPr/>
          <p:nvPr/>
        </p:nvCxnSpPr>
        <p:spPr>
          <a:xfrm>
            <a:off x="7082975" y="1157213"/>
            <a:ext cx="0" cy="1008000"/>
          </a:xfrm>
          <a:prstGeom prst="line">
            <a:avLst/>
          </a:prstGeom>
          <a:ln w="9525">
            <a:solidFill>
              <a:srgbClr val="843A86">
                <a:alpha val="2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8">
            <a:extLst>
              <a:ext uri="{FF2B5EF4-FFF2-40B4-BE49-F238E27FC236}">
                <a16:creationId xmlns:a16="http://schemas.microsoft.com/office/drawing/2014/main" id="{F9CD5125-2FE8-6A42-A4AE-C429232027D2}"/>
              </a:ext>
            </a:extLst>
          </p:cNvPr>
          <p:cNvCxnSpPr/>
          <p:nvPr/>
        </p:nvCxnSpPr>
        <p:spPr>
          <a:xfrm>
            <a:off x="9777964" y="1129783"/>
            <a:ext cx="0" cy="1008000"/>
          </a:xfrm>
          <a:prstGeom prst="line">
            <a:avLst/>
          </a:prstGeom>
          <a:ln>
            <a:solidFill>
              <a:srgbClr val="843A86">
                <a:alpha val="2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52">
            <a:extLst>
              <a:ext uri="{FF2B5EF4-FFF2-40B4-BE49-F238E27FC236}">
                <a16:creationId xmlns:a16="http://schemas.microsoft.com/office/drawing/2014/main" id="{39905E62-B03D-5F4C-B718-E58CB577AFC8}"/>
              </a:ext>
            </a:extLst>
          </p:cNvPr>
          <p:cNvSpPr>
            <a:spLocks noChangeAspect="1"/>
          </p:cNvSpPr>
          <p:nvPr/>
        </p:nvSpPr>
        <p:spPr>
          <a:xfrm>
            <a:off x="8187236" y="1646695"/>
            <a:ext cx="336000" cy="336000"/>
          </a:xfrm>
          <a:prstGeom prst="ellipse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>
                <a:latin typeface="Museo Sans 500" panose="02000000000000000000" pitchFamily="2" charset="77"/>
              </a:rPr>
              <a:t>4</a:t>
            </a:r>
          </a:p>
        </p:txBody>
      </p:sp>
      <p:sp>
        <p:nvSpPr>
          <p:cNvPr id="46" name="Oval 52">
            <a:extLst>
              <a:ext uri="{FF2B5EF4-FFF2-40B4-BE49-F238E27FC236}">
                <a16:creationId xmlns:a16="http://schemas.microsoft.com/office/drawing/2014/main" id="{9BB35D3A-A72E-3846-B6A4-C8FD5056D291}"/>
              </a:ext>
            </a:extLst>
          </p:cNvPr>
          <p:cNvSpPr>
            <a:spLocks noChangeAspect="1"/>
          </p:cNvSpPr>
          <p:nvPr/>
        </p:nvSpPr>
        <p:spPr>
          <a:xfrm>
            <a:off x="2221524" y="2511933"/>
            <a:ext cx="336000" cy="336000"/>
          </a:xfrm>
          <a:prstGeom prst="ellipse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>
                <a:latin typeface="Museo Sans 500" panose="02000000000000000000" pitchFamily="2" charset="77"/>
              </a:rPr>
              <a:t>1</a:t>
            </a:r>
          </a:p>
        </p:txBody>
      </p:sp>
      <p:cxnSp>
        <p:nvCxnSpPr>
          <p:cNvPr id="47" name="Straight Connector 8">
            <a:extLst>
              <a:ext uri="{FF2B5EF4-FFF2-40B4-BE49-F238E27FC236}">
                <a16:creationId xmlns:a16="http://schemas.microsoft.com/office/drawing/2014/main" id="{63549C20-5796-DE47-B32B-0F219369F0CB}"/>
              </a:ext>
            </a:extLst>
          </p:cNvPr>
          <p:cNvCxnSpPr>
            <a:cxnSpLocks/>
          </p:cNvCxnSpPr>
          <p:nvPr/>
        </p:nvCxnSpPr>
        <p:spPr>
          <a:xfrm flipH="1">
            <a:off x="1816287" y="1129237"/>
            <a:ext cx="7920000" cy="0"/>
          </a:xfrm>
          <a:prstGeom prst="line">
            <a:avLst/>
          </a:prstGeom>
          <a:ln>
            <a:solidFill>
              <a:srgbClr val="843A86">
                <a:alpha val="2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CEC6C05-41AD-D647-B10F-F497F3BCBAFB}"/>
              </a:ext>
            </a:extLst>
          </p:cNvPr>
          <p:cNvSpPr txBox="1"/>
          <p:nvPr/>
        </p:nvSpPr>
        <p:spPr>
          <a:xfrm>
            <a:off x="2597768" y="2513914"/>
            <a:ext cx="3551359" cy="801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200" b="1">
                <a:solidFill>
                  <a:srgbClr val="843A86"/>
                </a:solidFill>
                <a:latin typeface="Museo Sans 500" panose="02000000000000000000" pitchFamily="2" charset="77"/>
              </a:rPr>
              <a:t>DOMINIO</a:t>
            </a:r>
            <a:endParaRPr lang="es-ES_tradnl" sz="1200">
              <a:latin typeface="Museo Sans 500" panose="02000000000000000000" pitchFamily="2" charset="77"/>
            </a:endParaRPr>
          </a:p>
          <a:p>
            <a:pPr>
              <a:lnSpc>
                <a:spcPct val="150000"/>
              </a:lnSpc>
            </a:pP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Representa un nombre único que identifica a los servicios. </a:t>
            </a:r>
            <a:endParaRPr lang="es-ES_tradnl" sz="1200">
              <a:solidFill>
                <a:srgbClr val="445469"/>
              </a:solidFill>
              <a:latin typeface="Museo Sans 100" panose="02000000000000000000" pitchFamily="2" charset="77"/>
            </a:endParaRPr>
          </a:p>
        </p:txBody>
      </p:sp>
      <p:sp>
        <p:nvSpPr>
          <p:cNvPr id="50" name="Oval 52">
            <a:extLst>
              <a:ext uri="{FF2B5EF4-FFF2-40B4-BE49-F238E27FC236}">
                <a16:creationId xmlns:a16="http://schemas.microsoft.com/office/drawing/2014/main" id="{A64EFB0A-A56C-5344-9AB3-A97E397F5990}"/>
              </a:ext>
            </a:extLst>
          </p:cNvPr>
          <p:cNvSpPr>
            <a:spLocks noChangeAspect="1"/>
          </p:cNvSpPr>
          <p:nvPr/>
        </p:nvSpPr>
        <p:spPr>
          <a:xfrm>
            <a:off x="2221524" y="3700140"/>
            <a:ext cx="336000" cy="336000"/>
          </a:xfrm>
          <a:prstGeom prst="ellipse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>
                <a:latin typeface="Museo Sans 500" panose="02000000000000000000" pitchFamily="2" charset="77"/>
              </a:rPr>
              <a:t>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C13ED4B-F7D4-9641-B61A-19EB8E4D434F}"/>
              </a:ext>
            </a:extLst>
          </p:cNvPr>
          <p:cNvSpPr txBox="1"/>
          <p:nvPr/>
        </p:nvSpPr>
        <p:spPr>
          <a:xfrm>
            <a:off x="2597768" y="3702120"/>
            <a:ext cx="3551359" cy="1632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200" b="1">
                <a:solidFill>
                  <a:srgbClr val="843A86"/>
                </a:solidFill>
                <a:latin typeface="Museo Sans 500" panose="02000000000000000000" pitchFamily="2" charset="77"/>
              </a:rPr>
              <a:t>RESOURCE</a:t>
            </a:r>
            <a:endParaRPr lang="es-ES_tradnl" sz="1200">
              <a:latin typeface="Museo Sans 500" panose="02000000000000000000" pitchFamily="2" charset="77"/>
            </a:endParaRPr>
          </a:p>
          <a:p>
            <a:pPr>
              <a:lnSpc>
                <a:spcPct val="150000"/>
              </a:lnSpc>
            </a:pP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Representa</a:t>
            </a:r>
            <a:r>
              <a:rPr lang="es-ES_tradnl" sz="1200">
                <a:solidFill>
                  <a:srgbClr val="445469"/>
                </a:solidFill>
                <a:latin typeface="Museo Sans 500" panose="02000000000000000000" pitchFamily="2" charset="77"/>
                <a:sym typeface="Lato"/>
              </a:rPr>
              <a:t> </a:t>
            </a: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una colección y debe cumplir lo siguiente:</a:t>
            </a:r>
          </a:p>
          <a:p>
            <a:pPr marL="285744" indent="-285744">
              <a:lnSpc>
                <a:spcPct val="150000"/>
              </a:lnSpc>
              <a:buFontTx/>
              <a:buChar char="-"/>
            </a:pP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No use verbos, solo use sustantivos.</a:t>
            </a:r>
          </a:p>
          <a:p>
            <a:pPr marL="285744" indent="-285744">
              <a:lnSpc>
                <a:spcPct val="150000"/>
              </a:lnSpc>
              <a:buFontTx/>
              <a:buChar char="-"/>
            </a:pP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Use plurales, solo minúsculas.</a:t>
            </a:r>
          </a:p>
          <a:p>
            <a:pPr marL="285744" indent="-285744">
              <a:lnSpc>
                <a:spcPct val="150000"/>
              </a:lnSpc>
              <a:buFontTx/>
              <a:buChar char="-"/>
            </a:pP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En lo posible evite usar </a:t>
            </a:r>
            <a:r>
              <a:rPr lang="es-ES_tradnl" sz="1200" err="1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underscore</a:t>
            </a: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.</a:t>
            </a:r>
          </a:p>
        </p:txBody>
      </p:sp>
      <p:sp>
        <p:nvSpPr>
          <p:cNvPr id="54" name="Oval 52">
            <a:extLst>
              <a:ext uri="{FF2B5EF4-FFF2-40B4-BE49-F238E27FC236}">
                <a16:creationId xmlns:a16="http://schemas.microsoft.com/office/drawing/2014/main" id="{2B538F66-EA43-664D-AD15-A9EB6E1A7F75}"/>
              </a:ext>
            </a:extLst>
          </p:cNvPr>
          <p:cNvSpPr>
            <a:spLocks noChangeAspect="1"/>
          </p:cNvSpPr>
          <p:nvPr/>
        </p:nvSpPr>
        <p:spPr>
          <a:xfrm>
            <a:off x="6108882" y="2509384"/>
            <a:ext cx="336000" cy="336000"/>
          </a:xfrm>
          <a:prstGeom prst="ellipse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>
                <a:latin typeface="Museo Sans 500" panose="02000000000000000000" pitchFamily="2" charset="77"/>
              </a:rPr>
              <a:t>3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08241C6-CFF0-6C4E-988B-3E87ADF23349}"/>
              </a:ext>
            </a:extLst>
          </p:cNvPr>
          <p:cNvSpPr txBox="1"/>
          <p:nvPr/>
        </p:nvSpPr>
        <p:spPr>
          <a:xfrm>
            <a:off x="6485127" y="2511366"/>
            <a:ext cx="3551359" cy="801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200" b="1">
                <a:solidFill>
                  <a:srgbClr val="843A86"/>
                </a:solidFill>
                <a:latin typeface="Museo Sans 500" panose="02000000000000000000" pitchFamily="2" charset="77"/>
              </a:rPr>
              <a:t>SUB-RESOURCE</a:t>
            </a:r>
            <a:endParaRPr lang="es-ES_tradnl" sz="1200">
              <a:latin typeface="Museo Sans 500" panose="02000000000000000000" pitchFamily="2" charset="77"/>
            </a:endParaRPr>
          </a:p>
          <a:p>
            <a:pPr>
              <a:lnSpc>
                <a:spcPct val="150000"/>
              </a:lnSpc>
            </a:pP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Representa una o varias entidades de la colección o un detalle de la misma. </a:t>
            </a:r>
            <a:endParaRPr lang="es-ES_tradnl" sz="1200">
              <a:solidFill>
                <a:srgbClr val="445469"/>
              </a:solidFill>
              <a:latin typeface="Museo Sans 100" panose="02000000000000000000" pitchFamily="2" charset="77"/>
            </a:endParaRPr>
          </a:p>
        </p:txBody>
      </p:sp>
      <p:sp>
        <p:nvSpPr>
          <p:cNvPr id="57" name="Oval 52">
            <a:extLst>
              <a:ext uri="{FF2B5EF4-FFF2-40B4-BE49-F238E27FC236}">
                <a16:creationId xmlns:a16="http://schemas.microsoft.com/office/drawing/2014/main" id="{FAEFEFD8-31BF-D24F-ACB4-8A5EA6318EC8}"/>
              </a:ext>
            </a:extLst>
          </p:cNvPr>
          <p:cNvSpPr>
            <a:spLocks noChangeAspect="1"/>
          </p:cNvSpPr>
          <p:nvPr/>
        </p:nvSpPr>
        <p:spPr>
          <a:xfrm>
            <a:off x="6108882" y="3681725"/>
            <a:ext cx="336000" cy="336000"/>
          </a:xfrm>
          <a:prstGeom prst="ellipse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>
                <a:latin typeface="Museo Sans 500" panose="02000000000000000000" pitchFamily="2" charset="77"/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5EC4E28-59F4-C14A-96D6-DA3A78157963}"/>
              </a:ext>
            </a:extLst>
          </p:cNvPr>
          <p:cNvSpPr txBox="1"/>
          <p:nvPr/>
        </p:nvSpPr>
        <p:spPr>
          <a:xfrm>
            <a:off x="6485126" y="3683705"/>
            <a:ext cx="3855355" cy="1632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200" b="1">
                <a:solidFill>
                  <a:srgbClr val="843A86"/>
                </a:solidFill>
                <a:latin typeface="Museo Sans 500" panose="02000000000000000000" pitchFamily="2" charset="77"/>
              </a:rPr>
              <a:t>QUERY</a:t>
            </a:r>
            <a:endParaRPr lang="es-ES_tradnl" sz="1200">
              <a:latin typeface="Museo Sans 500" panose="02000000000000000000" pitchFamily="2" charset="77"/>
            </a:endParaRPr>
          </a:p>
          <a:p>
            <a:pPr>
              <a:lnSpc>
                <a:spcPct val="150000"/>
              </a:lnSpc>
            </a:pP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Solo debe ser usado en los siguientes casos:</a:t>
            </a:r>
          </a:p>
          <a:p>
            <a:pPr marL="285744" indent="-285744">
              <a:lnSpc>
                <a:spcPct val="150000"/>
              </a:lnSpc>
              <a:buFontTx/>
              <a:buChar char="-"/>
            </a:pPr>
            <a:r>
              <a:rPr lang="es-ES_tradnl" sz="1200" err="1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Paging</a:t>
            </a: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. Ejemplo: page=1</a:t>
            </a:r>
          </a:p>
          <a:p>
            <a:pPr marL="285744" indent="-285744">
              <a:lnSpc>
                <a:spcPct val="150000"/>
              </a:lnSpc>
              <a:buFontTx/>
              <a:buChar char="-"/>
            </a:pPr>
            <a:r>
              <a:rPr lang="es-ES_tradnl" sz="1200" err="1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Filtering</a:t>
            </a: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. Ejemplo: status=true</a:t>
            </a:r>
          </a:p>
          <a:p>
            <a:pPr marL="285744" indent="-285744">
              <a:lnSpc>
                <a:spcPct val="150000"/>
              </a:lnSpc>
              <a:buFontTx/>
              <a:buChar char="-"/>
            </a:pPr>
            <a:r>
              <a:rPr lang="es-ES_tradnl" sz="1200" err="1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Sorting</a:t>
            </a: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. Ejemplo: </a:t>
            </a:r>
            <a:r>
              <a:rPr lang="es-ES_tradnl" sz="1200" err="1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sort</a:t>
            </a: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=</a:t>
            </a:r>
            <a:r>
              <a:rPr lang="es-ES_tradnl" sz="1200" err="1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asc</a:t>
            </a:r>
            <a:endParaRPr lang="es-ES_tradnl" sz="1200">
              <a:solidFill>
                <a:srgbClr val="445469"/>
              </a:solidFill>
              <a:latin typeface="Museo Sans 100" panose="02000000000000000000" pitchFamily="2" charset="77"/>
              <a:sym typeface="Lato"/>
            </a:endParaRPr>
          </a:p>
          <a:p>
            <a:pPr marL="285744" indent="-285744">
              <a:lnSpc>
                <a:spcPct val="150000"/>
              </a:lnSpc>
              <a:buFontTx/>
              <a:buChar char="-"/>
            </a:pPr>
            <a:r>
              <a:rPr lang="es-ES_tradnl" sz="1200" err="1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Searching</a:t>
            </a: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. Ejemplo: </a:t>
            </a:r>
            <a:r>
              <a:rPr lang="es-ES_tradnl" sz="1200" err="1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search</a:t>
            </a: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=labial</a:t>
            </a:r>
            <a:endParaRPr lang="es-ES_tradnl" sz="1200">
              <a:solidFill>
                <a:srgbClr val="445469"/>
              </a:solidFill>
              <a:latin typeface="Museo Sans 100" panose="02000000000000000000" pitchFamily="2" charset="77"/>
            </a:endParaRPr>
          </a:p>
        </p:txBody>
      </p:sp>
      <p:cxnSp>
        <p:nvCxnSpPr>
          <p:cNvPr id="30" name="Google Shape;236;p33">
            <a:extLst>
              <a:ext uri="{FF2B5EF4-FFF2-40B4-BE49-F238E27FC236}">
                <a16:creationId xmlns:a16="http://schemas.microsoft.com/office/drawing/2014/main" id="{E9B53EBD-896C-1541-8D2A-5F5A8FABA409}"/>
              </a:ext>
            </a:extLst>
          </p:cNvPr>
          <p:cNvCxnSpPr/>
          <p:nvPr/>
        </p:nvCxnSpPr>
        <p:spPr>
          <a:xfrm rot="10800000" flipH="1">
            <a:off x="1027651" y="937119"/>
            <a:ext cx="9769200" cy="12400"/>
          </a:xfrm>
          <a:prstGeom prst="straightConnector1">
            <a:avLst/>
          </a:prstGeom>
          <a:noFill/>
          <a:ln w="12700" cap="flat" cmpd="sng">
            <a:solidFill>
              <a:srgbClr val="33CCF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" name="Google Shape;237;p33">
            <a:extLst>
              <a:ext uri="{FF2B5EF4-FFF2-40B4-BE49-F238E27FC236}">
                <a16:creationId xmlns:a16="http://schemas.microsoft.com/office/drawing/2014/main" id="{A650BB92-2EAB-D54E-BA1C-7994FEA5DC47}"/>
              </a:ext>
            </a:extLst>
          </p:cNvPr>
          <p:cNvSpPr txBox="1"/>
          <p:nvPr/>
        </p:nvSpPr>
        <p:spPr>
          <a:xfrm>
            <a:off x="949282" y="372964"/>
            <a:ext cx="10655200" cy="461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200" b="1">
                <a:solidFill>
                  <a:srgbClr val="6627B3"/>
                </a:solidFill>
                <a:latin typeface="Lato"/>
                <a:ea typeface="Lato"/>
                <a:cs typeface="Lat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</a:lvl9pPr>
          </a:lstStyle>
          <a:p>
            <a:r>
              <a:rPr lang="es-419">
                <a:sym typeface="Arial"/>
              </a:rPr>
              <a:t>EndPoint: Estándar de Uri</a:t>
            </a:r>
          </a:p>
        </p:txBody>
      </p:sp>
      <p:sp>
        <p:nvSpPr>
          <p:cNvPr id="29" name="Oval 52">
            <a:extLst>
              <a:ext uri="{FF2B5EF4-FFF2-40B4-BE49-F238E27FC236}">
                <a16:creationId xmlns:a16="http://schemas.microsoft.com/office/drawing/2014/main" id="{0024442D-F03E-9247-AB07-022F3F6D039F}"/>
              </a:ext>
            </a:extLst>
          </p:cNvPr>
          <p:cNvSpPr>
            <a:spLocks noChangeAspect="1"/>
          </p:cNvSpPr>
          <p:nvPr/>
        </p:nvSpPr>
        <p:spPr>
          <a:xfrm>
            <a:off x="6108883" y="5477855"/>
            <a:ext cx="336000" cy="336000"/>
          </a:xfrm>
          <a:prstGeom prst="ellipse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>
                <a:latin typeface="Museo Sans 500" panose="02000000000000000000" pitchFamily="2" charset="77"/>
              </a:rPr>
              <a:t>5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24591B0-F76D-A44A-A996-73114B79437A}"/>
              </a:ext>
            </a:extLst>
          </p:cNvPr>
          <p:cNvSpPr txBox="1"/>
          <p:nvPr/>
        </p:nvSpPr>
        <p:spPr>
          <a:xfrm>
            <a:off x="6485127" y="5479837"/>
            <a:ext cx="3551359" cy="524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200" b="1">
                <a:solidFill>
                  <a:srgbClr val="843A86"/>
                </a:solidFill>
                <a:latin typeface="Museo Sans 500" panose="02000000000000000000" pitchFamily="2" charset="77"/>
              </a:rPr>
              <a:t>IDIOMA</a:t>
            </a:r>
            <a:endParaRPr lang="es-ES_tradnl" sz="1200">
              <a:latin typeface="Museo Sans 500" panose="02000000000000000000" pitchFamily="2" charset="77"/>
            </a:endParaRPr>
          </a:p>
          <a:p>
            <a:pPr>
              <a:lnSpc>
                <a:spcPct val="150000"/>
              </a:lnSpc>
            </a:pPr>
            <a:r>
              <a:rPr lang="es-ES_tradnl" sz="1200">
                <a:solidFill>
                  <a:srgbClr val="445469"/>
                </a:solidFill>
                <a:latin typeface="Museo Sans 100" panose="02000000000000000000" pitchFamily="2" charset="77"/>
                <a:sym typeface="Lato"/>
              </a:rPr>
              <a:t>Se usarán notaciones en inglés.</a:t>
            </a:r>
            <a:endParaRPr lang="es-ES_tradnl" sz="1200">
              <a:solidFill>
                <a:srgbClr val="445469"/>
              </a:solidFill>
              <a:latin typeface="Museo Sans 1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4366479"/>
      </p:ext>
    </p:extLst>
  </p:cSld>
  <p:clrMapOvr>
    <a:masterClrMapping/>
  </p:clrMapOvr>
  <p:transition advClick="0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 err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Endpoint</a:t>
            </a:r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: Ejemplos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CF2D17D-A071-A84F-BD3A-3836B03259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5036682"/>
              </p:ext>
            </p:extLst>
          </p:nvPr>
        </p:nvGraphicFramePr>
        <p:xfrm>
          <a:off x="415600" y="1256986"/>
          <a:ext cx="11276400" cy="481806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79400">
                  <a:extLst>
                    <a:ext uri="{9D8B030D-6E8A-4147-A177-3AD203B41FA5}">
                      <a16:colId xmlns:a16="http://schemas.microsoft.com/office/drawing/2014/main" val="1797597539"/>
                    </a:ext>
                  </a:extLst>
                </a:gridCol>
                <a:gridCol w="1879400">
                  <a:extLst>
                    <a:ext uri="{9D8B030D-6E8A-4147-A177-3AD203B41FA5}">
                      <a16:colId xmlns:a16="http://schemas.microsoft.com/office/drawing/2014/main" val="990257872"/>
                    </a:ext>
                  </a:extLst>
                </a:gridCol>
                <a:gridCol w="1879400">
                  <a:extLst>
                    <a:ext uri="{9D8B030D-6E8A-4147-A177-3AD203B41FA5}">
                      <a16:colId xmlns:a16="http://schemas.microsoft.com/office/drawing/2014/main" val="2363068723"/>
                    </a:ext>
                  </a:extLst>
                </a:gridCol>
                <a:gridCol w="1879400">
                  <a:extLst>
                    <a:ext uri="{9D8B030D-6E8A-4147-A177-3AD203B41FA5}">
                      <a16:colId xmlns:a16="http://schemas.microsoft.com/office/drawing/2014/main" val="1207765806"/>
                    </a:ext>
                  </a:extLst>
                </a:gridCol>
                <a:gridCol w="1879400">
                  <a:extLst>
                    <a:ext uri="{9D8B030D-6E8A-4147-A177-3AD203B41FA5}">
                      <a16:colId xmlns:a16="http://schemas.microsoft.com/office/drawing/2014/main" val="1488862541"/>
                    </a:ext>
                  </a:extLst>
                </a:gridCol>
                <a:gridCol w="1879400">
                  <a:extLst>
                    <a:ext uri="{9D8B030D-6E8A-4147-A177-3AD203B41FA5}">
                      <a16:colId xmlns:a16="http://schemas.microsoft.com/office/drawing/2014/main" val="1826344008"/>
                    </a:ext>
                  </a:extLst>
                </a:gridCol>
              </a:tblGrid>
              <a:tr h="344873"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RESOURCE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GET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POST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PUT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PATCH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DELETE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428370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/producto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Retorna la lista de usuarios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Crea un nuevo usuario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ctualización masiva de productos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Method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not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llowed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(405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Elimina todos los producto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4984388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/productos/1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Retorna un producto especifico.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Method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not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llowed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(405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ctualiza toda los elementos del producto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ctualiza un elemento especifico del product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Elimina el product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22589645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/productos/10/tono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Retorna los tonos correspondientes al producto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Method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not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llowed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(405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400" b="1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400" b="1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400" b="1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47401164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/</a:t>
                      </a:r>
                      <a:r>
                        <a:rPr lang="es-ES_tradnl" sz="1400" b="0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productos?search</a:t>
                      </a: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=labia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Retorna los productos filtrados por labial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Method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not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llowed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(405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400" b="1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400" b="1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400" b="1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5294976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/productos/3/</a:t>
                      </a:r>
                      <a:r>
                        <a:rPr lang="es-ES_tradnl" sz="1400" b="0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tonos?sort</a:t>
                      </a: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=</a:t>
                      </a:r>
                      <a:r>
                        <a:rPr lang="es-ES_tradnl" sz="1400" b="0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sc&amp;status</a:t>
                      </a: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=tru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400" b="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Retorna los tonos del producto 3 y filtrados por estado activo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Method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not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</a:t>
                      </a:r>
                      <a:r>
                        <a:rPr lang="es-ES_tradnl" sz="1400" b="1" err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llowed</a:t>
                      </a:r>
                      <a:r>
                        <a:rPr lang="es-ES_tradnl" sz="14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 (405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400" b="1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400" b="1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_tradnl" sz="1400" b="1">
                        <a:solidFill>
                          <a:srgbClr val="445469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64808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4379283"/>
      </p:ext>
    </p:extLst>
  </p:cSld>
  <p:clrMapOvr>
    <a:masterClrMapping/>
  </p:clrMapOvr>
  <p:transition advClick="0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9"/>
          <p:cNvSpPr txBox="1">
            <a:spLocks noGrp="1"/>
          </p:cNvSpPr>
          <p:nvPr>
            <p:ph type="title"/>
          </p:nvPr>
        </p:nvSpPr>
        <p:spPr>
          <a:xfrm>
            <a:off x="415600" y="502837"/>
            <a:ext cx="11360800" cy="554984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s-ES" sz="3200" b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Status </a:t>
            </a:r>
            <a:r>
              <a:rPr lang="es-ES" sz="3200" b="1" err="1">
                <a:solidFill>
                  <a:srgbClr val="6627B3"/>
                </a:solidFill>
                <a:latin typeface="Lato"/>
                <a:ea typeface="Lato"/>
                <a:cs typeface="Lato"/>
                <a:sym typeface="Lato"/>
              </a:rPr>
              <a:t>code</a:t>
            </a:r>
            <a:endParaRPr sz="3200" b="1">
              <a:solidFill>
                <a:srgbClr val="6627B3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1" name="Google Shape;221;p39"/>
          <p:cNvCxnSpPr/>
          <p:nvPr/>
        </p:nvCxnSpPr>
        <p:spPr>
          <a:xfrm>
            <a:off x="480000" y="1157403"/>
            <a:ext cx="11276400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CF2D17D-A071-A84F-BD3A-3836B03259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81832"/>
              </p:ext>
            </p:extLst>
          </p:nvPr>
        </p:nvGraphicFramePr>
        <p:xfrm>
          <a:off x="480000" y="1256986"/>
          <a:ext cx="11296400" cy="496002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99271">
                  <a:extLst>
                    <a:ext uri="{9D8B030D-6E8A-4147-A177-3AD203B41FA5}">
                      <a16:colId xmlns:a16="http://schemas.microsoft.com/office/drawing/2014/main" val="1797597539"/>
                    </a:ext>
                  </a:extLst>
                </a:gridCol>
                <a:gridCol w="2414512">
                  <a:extLst>
                    <a:ext uri="{9D8B030D-6E8A-4147-A177-3AD203B41FA5}">
                      <a16:colId xmlns:a16="http://schemas.microsoft.com/office/drawing/2014/main" val="1587593897"/>
                    </a:ext>
                  </a:extLst>
                </a:gridCol>
                <a:gridCol w="1717650">
                  <a:extLst>
                    <a:ext uri="{9D8B030D-6E8A-4147-A177-3AD203B41FA5}">
                      <a16:colId xmlns:a16="http://schemas.microsoft.com/office/drawing/2014/main" val="3045284763"/>
                    </a:ext>
                  </a:extLst>
                </a:gridCol>
                <a:gridCol w="5664967">
                  <a:extLst>
                    <a:ext uri="{9D8B030D-6E8A-4147-A177-3AD203B41FA5}">
                      <a16:colId xmlns:a16="http://schemas.microsoft.com/office/drawing/2014/main" val="2043000945"/>
                    </a:ext>
                  </a:extLst>
                </a:gridCol>
              </a:tblGrid>
              <a:tr h="344873"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CÓDIGO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NOMBRE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MÉTODO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>
                          <a:solidFill>
                            <a:schemeClr val="bg1"/>
                          </a:solidFill>
                        </a:rPr>
                        <a:t>DETALLE</a:t>
                      </a:r>
                    </a:p>
                  </a:txBody>
                  <a:tcPr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8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428370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20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SUCCES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GE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El código HTTP estándar por defecto.  Se usa para obtener la información de uno o más resources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4984388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20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CREATE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POS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Identifica cuando un nuevo resource ha sido creado.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22589645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20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NO CONTEN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PUT / PATCH / DELET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Representa una actualización o eliminación de un resource y que no debe retornar ningún contenido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47401164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30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NOT MODIFIE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GE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Devuelve la información del cliente que se encuentra almacenada en cache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5294976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40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BAD REQUES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AL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Indica que un parámetro no ha sido enviado o no cumple con el formato correcto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6480873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40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UNAUTHORIZE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AL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Indica que el cliente no tiene permiso para acceder a un determinado resource,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7686024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40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FORBIDDE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AL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Indica que el cliente no esta autentificado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10432599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40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NOT FOUN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AL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Indica que el resource no existe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1319431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40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METHOD NOT ALLOWE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AL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Indica que el método no esta disponible para la solicitud de dicho resource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60361623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42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UNPROCESSABLE ENTITY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POST / PUT / PATCH / DELET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Indica que hubo un problema al procesar la transacción de un resource.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7163221"/>
                  </a:ext>
                </a:extLst>
              </a:tr>
              <a:tr h="34487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 b="1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50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+mj-lt"/>
                        <a:buNone/>
                      </a:pPr>
                      <a:r>
                        <a:rPr lang="es-ES_tradnl" sz="1200">
                          <a:solidFill>
                            <a:srgbClr val="445469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INTERNAL SERVER ERROR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AL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_tradnl" sz="1200" kern="1200">
                          <a:solidFill>
                            <a:srgbClr val="445469"/>
                          </a:solidFill>
                          <a:latin typeface="Lato"/>
                        </a:rPr>
                        <a:t>Ocurrió un error dentro del servidor o la BD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D8F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5225033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F50B1893-64B7-504D-AC25-9DB0D0D8D75E}"/>
              </a:ext>
            </a:extLst>
          </p:cNvPr>
          <p:cNvSpPr txBox="1"/>
          <p:nvPr/>
        </p:nvSpPr>
        <p:spPr>
          <a:xfrm>
            <a:off x="8152203" y="6306951"/>
            <a:ext cx="36241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200"/>
              <a:t>Fuente: </a:t>
            </a:r>
            <a:r>
              <a:rPr lang="es-ES_tradnl" sz="1200">
                <a:hlinkClick r:id="rId3"/>
              </a:rPr>
              <a:t>https://tools.ietf.org/html/rfc7232#section-4.1</a:t>
            </a:r>
            <a:endParaRPr lang="es-ES_tradnl" sz="1200"/>
          </a:p>
        </p:txBody>
      </p:sp>
    </p:spTree>
    <p:extLst>
      <p:ext uri="{BB962C8B-B14F-4D97-AF65-F5344CB8AC3E}">
        <p14:creationId xmlns:p14="http://schemas.microsoft.com/office/powerpoint/2010/main" val="3455838415"/>
      </p:ext>
    </p:extLst>
  </p:cSld>
  <p:clrMapOvr>
    <a:masterClrMapping/>
  </p:clrMapOvr>
  <p:transition advClick="0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lantilla Belcorp_01">
  <a:themeElements>
    <a:clrScheme name="Brío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FF388C"/>
      </a:accent1>
      <a:accent2>
        <a:srgbClr val="E40059"/>
      </a:accent2>
      <a:accent3>
        <a:srgbClr val="9C007F"/>
      </a:accent3>
      <a:accent4>
        <a:srgbClr val="68007F"/>
      </a:accent4>
      <a:accent5>
        <a:srgbClr val="005BD3"/>
      </a:accent5>
      <a:accent6>
        <a:srgbClr val="00349E"/>
      </a:accent6>
      <a:hlink>
        <a:srgbClr val="17BBFD"/>
      </a:hlink>
      <a:folHlink>
        <a:srgbClr val="FF79C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ACC8F355560E419D500C6C7C0C6405" ma:contentTypeVersion="7" ma:contentTypeDescription="Create a new document." ma:contentTypeScope="" ma:versionID="cd2b6eb4a2a43f4962133022782096b9">
  <xsd:schema xmlns:xsd="http://www.w3.org/2001/XMLSchema" xmlns:xs="http://www.w3.org/2001/XMLSchema" xmlns:p="http://schemas.microsoft.com/office/2006/metadata/properties" xmlns:ns2="f3bcd6b8-888b-47c1-95da-1a1cf877ab2f" targetNamespace="http://schemas.microsoft.com/office/2006/metadata/properties" ma:root="true" ma:fieldsID="6cae762d26d57030b26ccad124ff4c45" ns2:_="">
    <xsd:import namespace="f3bcd6b8-888b-47c1-95da-1a1cf877ab2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bcd6b8-888b-47c1-95da-1a1cf877ab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6ED6C56-E95B-4FC1-AEE7-3C02EFD9FF22}">
  <ds:schemaRefs>
    <ds:schemaRef ds:uri="e7b11b81-5657-4893-998f-4ad6f539943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0A81AF4-9D62-4F05-9629-C7D03BA6B898}"/>
</file>

<file path=customXml/itemProps3.xml><?xml version="1.0" encoding="utf-8"?>
<ds:datastoreItem xmlns:ds="http://schemas.openxmlformats.org/officeDocument/2006/customXml" ds:itemID="{37750E6C-D1C4-4463-92B1-1960907288D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54</Slides>
  <Notes>35</Notes>
  <HiddenSlides>1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54</vt:i4>
      </vt:variant>
    </vt:vector>
  </HeadingPairs>
  <TitlesOfParts>
    <vt:vector size="56" baseType="lpstr">
      <vt:lpstr>1_Office Theme</vt:lpstr>
      <vt:lpstr>Plantilla Belcorp_01</vt:lpstr>
      <vt:lpstr>PowerPoint Presentation</vt:lpstr>
      <vt:lpstr>Agenda</vt:lpstr>
      <vt:lpstr>Microservicios: ¿Qué podemos mejorar?</vt:lpstr>
      <vt:lpstr>¿Por qué NodeJS?</vt:lpstr>
      <vt:lpstr>Propuesta de implementación (Visión)</vt:lpstr>
      <vt:lpstr>Estándares de microservicios </vt:lpstr>
      <vt:lpstr>PowerPoint Presentation</vt:lpstr>
      <vt:lpstr>Endpoint: Ejemplos</vt:lpstr>
      <vt:lpstr>Status code</vt:lpstr>
      <vt:lpstr>Manejo de errores</vt:lpstr>
      <vt:lpstr>Versionamiento y custom headers</vt:lpstr>
      <vt:lpstr>Principales web framework en NodeJS</vt:lpstr>
      <vt:lpstr>Frameworks: Top 5 en descargas</vt:lpstr>
      <vt:lpstr>Frameworks: Top 5 en descargas</vt:lpstr>
      <vt:lpstr>Pruebas de estrés</vt:lpstr>
      <vt:lpstr>Pruebas de estrés</vt:lpstr>
      <vt:lpstr>Prueba de estrés: Total de requests por minuto</vt:lpstr>
      <vt:lpstr>Prueba de estrés: Requests x segundo en un minuto</vt:lpstr>
      <vt:lpstr>Prueba de estrés: Latencia en un minuto</vt:lpstr>
      <vt:lpstr>Prueba de estrés: Errores en un minuto</vt:lpstr>
      <vt:lpstr>Pruebas de estrés: Resultados finales</vt:lpstr>
      <vt:lpstr>Comparativa y Resultados</vt:lpstr>
      <vt:lpstr>Comparativa: Fastify vs Koa vs Hapi</vt:lpstr>
      <vt:lpstr>¿Qué framework usar?</vt:lpstr>
      <vt:lpstr>Control de versiones</vt:lpstr>
      <vt:lpstr>GIT</vt:lpstr>
      <vt:lpstr>Estructura de código fuente</vt:lpstr>
      <vt:lpstr>Estructura de código fuente</vt:lpstr>
      <vt:lpstr>Estructura de código fuente</vt:lpstr>
      <vt:lpstr>Middleware recomendados</vt:lpstr>
      <vt:lpstr>SWAGGER</vt:lpstr>
      <vt:lpstr>app.js</vt:lpstr>
      <vt:lpstr>swagger.js</vt:lpstr>
      <vt:lpstr>docs.yaml</vt:lpstr>
      <vt:lpstr>Documentación</vt:lpstr>
      <vt:lpstr>Documentación</vt:lpstr>
      <vt:lpstr>Chai + Mocha</vt:lpstr>
      <vt:lpstr>app.spec.js</vt:lpstr>
      <vt:lpstr>mocha.opts</vt:lpstr>
      <vt:lpstr>Ejecución de mochawesome</vt:lpstr>
      <vt:lpstr>YENV</vt:lpstr>
      <vt:lpstr>yenv</vt:lpstr>
      <vt:lpstr>env.yaml</vt:lpstr>
      <vt:lpstr>hapi/Joi</vt:lpstr>
      <vt:lpstr>JOI</vt:lpstr>
      <vt:lpstr>JOI</vt:lpstr>
      <vt:lpstr>Redis</vt:lpstr>
      <vt:lpstr>REDIS</vt:lpstr>
      <vt:lpstr>Plugins Recomendados</vt:lpstr>
      <vt:lpstr>Swagger Viewer</vt:lpstr>
      <vt:lpstr>Prettier</vt:lpstr>
      <vt:lpstr>YAML</vt:lpstr>
      <vt:lpstr>Referencia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 Digital</dc:title>
  <dc:creator>Microsoft Office User</dc:creator>
  <cp:revision>1</cp:revision>
  <cp:lastPrinted>2017-02-14T21:01:38Z</cp:lastPrinted>
  <dcterms:created xsi:type="dcterms:W3CDTF">2016-07-25T20:46:34Z</dcterms:created>
  <dcterms:modified xsi:type="dcterms:W3CDTF">2019-07-24T18:2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ACC8F355560E419D500C6C7C0C6405</vt:lpwstr>
  </property>
</Properties>
</file>